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Masters/slideMaster61.xml" ContentType="application/vnd.openxmlformats-officedocument.presentationml.slideMaster+xml"/>
  <Override PartName="/ppt/slideMasters/slideMaster62.xml" ContentType="application/vnd.openxmlformats-officedocument.presentationml.slideMaster+xml"/>
  <Override PartName="/ppt/slideMasters/slideMaster63.xml" ContentType="application/vnd.openxmlformats-officedocument.presentationml.slideMaster+xml"/>
  <Override PartName="/ppt/slideMasters/slideMaster64.xml" ContentType="application/vnd.openxmlformats-officedocument.presentationml.slideMaster+xml"/>
  <Override PartName="/ppt/slideMasters/slideMaster65.xml" ContentType="application/vnd.openxmlformats-officedocument.presentationml.slideMaster+xml"/>
  <Override PartName="/ppt/slideMasters/slideMaster66.xml" ContentType="application/vnd.openxmlformats-officedocument.presentationml.slideMaster+xml"/>
  <Override PartName="/ppt/slideMasters/slideMaster67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6.xml" ContentType="application/vnd.openxmlformats-officedocument.theme+xml"/>
  <Override PartName="/ppt/slideLayouts/slideLayout35.xml" ContentType="application/vnd.openxmlformats-officedocument.presentationml.slideLayout+xml"/>
  <Override PartName="/ppt/theme/theme7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8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9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10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1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12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3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4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15.xml" ContentType="application/vnd.openxmlformats-officedocument.theme+xml"/>
  <Override PartName="/ppt/slideLayouts/slideLayout92.xml" ContentType="application/vnd.openxmlformats-officedocument.presentationml.slideLayout+xml"/>
  <Override PartName="/ppt/theme/theme16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7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8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9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20.xml" ContentType="application/vnd.openxmlformats-officedocument.theme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21.xml" ContentType="application/vnd.openxmlformats-officedocument.theme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22.xml" ContentType="application/vnd.openxmlformats-officedocument.theme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23.xml" ContentType="application/vnd.openxmlformats-officedocument.theme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24.xml" ContentType="application/vnd.openxmlformats-officedocument.theme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25.xml" ContentType="application/vnd.openxmlformats-officedocument.theme+xml"/>
  <Override PartName="/ppt/slideLayouts/slideLayout174.xml" ContentType="application/vnd.openxmlformats-officedocument.presentationml.slideLayout+xml"/>
  <Override PartName="/ppt/theme/theme26.xml" ContentType="application/vnd.openxmlformats-officedocument.theme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theme/theme27.xml" ContentType="application/vnd.openxmlformats-officedocument.theme+xml"/>
  <Override PartName="/ppt/theme/themeOverride1.xml" ContentType="application/vnd.openxmlformats-officedocument.themeOverride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28.xml" ContentType="application/vnd.openxmlformats-officedocument.theme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theme/theme29.xml" ContentType="application/vnd.openxmlformats-officedocument.theme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theme/theme30.xml" ContentType="application/vnd.openxmlformats-officedocument.theme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31.xml" ContentType="application/vnd.openxmlformats-officedocument.theme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32.xml" ContentType="application/vnd.openxmlformats-officedocument.theme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33.xml" ContentType="application/vnd.openxmlformats-officedocument.theme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34.xml" ContentType="application/vnd.openxmlformats-officedocument.theme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35.xml" ContentType="application/vnd.openxmlformats-officedocument.theme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theme/theme36.xml" ContentType="application/vnd.openxmlformats-officedocument.theme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theme/theme37.xml" ContentType="application/vnd.openxmlformats-officedocument.theme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theme/theme38.xml" ContentType="application/vnd.openxmlformats-officedocument.theme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theme/theme39.xml" ContentType="application/vnd.openxmlformats-officedocument.theme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theme/theme40.xml" ContentType="application/vnd.openxmlformats-officedocument.theme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theme/theme41.xml" ContentType="application/vnd.openxmlformats-officedocument.theme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theme/theme42.xml" ContentType="application/vnd.openxmlformats-officedocument.theme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theme/theme43.xml" ContentType="application/vnd.openxmlformats-officedocument.theme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theme/theme44.xml" ContentType="application/vnd.openxmlformats-officedocument.theme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theme/theme45.xml" ContentType="application/vnd.openxmlformats-officedocument.theme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theme/theme46.xml" ContentType="application/vnd.openxmlformats-officedocument.theme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theme/theme47.xml" ContentType="application/vnd.openxmlformats-officedocument.theme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theme/theme48.xml" ContentType="application/vnd.openxmlformats-officedocument.theme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theme/theme49.xml" ContentType="application/vnd.openxmlformats-officedocument.theme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theme/theme50.xml" ContentType="application/vnd.openxmlformats-officedocument.theme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theme/theme51.xml" ContentType="application/vnd.openxmlformats-officedocument.them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theme/theme52.xml" ContentType="application/vnd.openxmlformats-officedocument.theme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theme/theme53.xml" ContentType="application/vnd.openxmlformats-officedocument.theme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theme/theme54.xml" ContentType="application/vnd.openxmlformats-officedocument.theme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theme/theme55.xml" ContentType="application/vnd.openxmlformats-officedocument.theme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theme/theme56.xml" ContentType="application/vnd.openxmlformats-officedocument.theme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theme/theme57.xml" ContentType="application/vnd.openxmlformats-officedocument.theme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theme/theme58.xml" ContentType="application/vnd.openxmlformats-officedocument.theme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theme/theme59.xml" ContentType="application/vnd.openxmlformats-officedocument.theme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theme/theme60.xml" ContentType="application/vnd.openxmlformats-officedocument.theme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theme/theme61.xml" ContentType="application/vnd.openxmlformats-officedocument.theme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theme/theme62.xml" ContentType="application/vnd.openxmlformats-officedocument.theme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theme/theme63.xml" ContentType="application/vnd.openxmlformats-officedocument.theme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theme/theme64.xml" ContentType="application/vnd.openxmlformats-officedocument.theme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theme/theme65.xml" ContentType="application/vnd.openxmlformats-officedocument.theme+xml"/>
  <Override PartName="/ppt/tags/tag1.xml" ContentType="application/vnd.openxmlformats-officedocument.presentationml.tags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theme/theme66.xml" ContentType="application/vnd.openxmlformats-officedocument.theme+xml"/>
  <Override PartName="/ppt/tags/tag2.xml" ContentType="application/vnd.openxmlformats-officedocument.presentationml.tags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theme/theme67.xml" ContentType="application/vnd.openxmlformats-officedocument.theme+xml"/>
  <Override PartName="/ppt/tags/tag3.xml" ContentType="application/vnd.openxmlformats-officedocument.presentationml.tags+xml"/>
  <Override PartName="/ppt/theme/theme68.xml" ContentType="application/vnd.openxmlformats-officedocument.theme+xml"/>
  <Override PartName="/ppt/theme/theme6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86" r:id="rId4"/>
    <p:sldMasterId id="2147483698" r:id="rId5"/>
    <p:sldMasterId id="2147483684" r:id="rId6"/>
    <p:sldMasterId id="2147483710" r:id="rId7"/>
    <p:sldMasterId id="2147483715" r:id="rId8"/>
    <p:sldMasterId id="2147483724" r:id="rId9"/>
    <p:sldMasterId id="2147483733" r:id="rId10"/>
    <p:sldMasterId id="2147483747" r:id="rId11"/>
    <p:sldMasterId id="2147483777" r:id="rId12"/>
    <p:sldMasterId id="2147483786" r:id="rId13"/>
    <p:sldMasterId id="2147483795" r:id="rId14"/>
    <p:sldMasterId id="2147483805" r:id="rId15"/>
    <p:sldMasterId id="2147483814" r:id="rId16"/>
    <p:sldMasterId id="2147483825" r:id="rId17"/>
    <p:sldMasterId id="2147483830" r:id="rId18"/>
    <p:sldMasterId id="2147483866" r:id="rId19"/>
    <p:sldMasterId id="2147483868" r:id="rId20"/>
    <p:sldMasterId id="2147483904" r:id="rId21"/>
    <p:sldMasterId id="2147483976" r:id="rId22"/>
    <p:sldMasterId id="2147483986" r:id="rId23"/>
    <p:sldMasterId id="2147484074" r:id="rId24"/>
    <p:sldMasterId id="2147484086" r:id="rId25"/>
    <p:sldMasterId id="2147484138" r:id="rId26"/>
    <p:sldMasterId id="2147484150" r:id="rId27"/>
    <p:sldMasterId id="2147484171" r:id="rId28"/>
    <p:sldMasterId id="2147484270" r:id="rId29"/>
    <p:sldMasterId id="2147484272" r:id="rId30"/>
    <p:sldMasterId id="2147484315" r:id="rId31"/>
    <p:sldMasterId id="2147484333" r:id="rId32"/>
    <p:sldMasterId id="2147484338" r:id="rId33"/>
    <p:sldMasterId id="2147484357" r:id="rId34"/>
    <p:sldMasterId id="2147484369" r:id="rId35"/>
    <p:sldMasterId id="2147484378" r:id="rId36"/>
    <p:sldMasterId id="2147484388" r:id="rId37"/>
    <p:sldMasterId id="2147484397" r:id="rId38"/>
    <p:sldMasterId id="2147484406" r:id="rId39"/>
    <p:sldMasterId id="2147484416" r:id="rId40"/>
    <p:sldMasterId id="2147484460" r:id="rId41"/>
    <p:sldMasterId id="2147484496" r:id="rId42"/>
    <p:sldMasterId id="2147484542" r:id="rId43"/>
    <p:sldMasterId id="2147484553" r:id="rId44"/>
    <p:sldMasterId id="2147484597" r:id="rId45"/>
    <p:sldMasterId id="2147484616" r:id="rId46"/>
    <p:sldMasterId id="2147484622" r:id="rId47"/>
    <p:sldMasterId id="2147484667" r:id="rId48"/>
    <p:sldMasterId id="2147484712" r:id="rId49"/>
    <p:sldMasterId id="2147484756" r:id="rId50"/>
    <p:sldMasterId id="2147484799" r:id="rId51"/>
    <p:sldMasterId id="2147484804" r:id="rId52"/>
    <p:sldMasterId id="2147484848" r:id="rId53"/>
    <p:sldMasterId id="2147484891" r:id="rId54"/>
    <p:sldMasterId id="2147484897" r:id="rId55"/>
    <p:sldMasterId id="2147484950" r:id="rId56"/>
    <p:sldMasterId id="2147484993" r:id="rId57"/>
    <p:sldMasterId id="2147485011" r:id="rId58"/>
    <p:sldMasterId id="2147485070" r:id="rId59"/>
    <p:sldMasterId id="2147485113" r:id="rId60"/>
    <p:sldMasterId id="2147485161" r:id="rId61"/>
    <p:sldMasterId id="2147485204" r:id="rId62"/>
    <p:sldMasterId id="2147485214" r:id="rId63"/>
    <p:sldMasterId id="2147485225" r:id="rId64"/>
    <p:sldMasterId id="2147485269" r:id="rId65"/>
    <p:sldMasterId id="2147485288" r:id="rId66"/>
    <p:sldMasterId id="2147485293" r:id="rId67"/>
    <p:sldMasterId id="2147485330" r:id="rId68"/>
    <p:sldMasterId id="2147485341" r:id="rId69"/>
    <p:sldMasterId id="2147485352" r:id="rId70"/>
  </p:sldMasterIdLst>
  <p:notesMasterIdLst>
    <p:notesMasterId r:id="rId72"/>
  </p:notesMasterIdLst>
  <p:handoutMasterIdLst>
    <p:handoutMasterId r:id="rId73"/>
  </p:handoutMasterIdLst>
  <p:sldIdLst>
    <p:sldId id="1036" r:id="rId71"/>
  </p:sldIdLst>
  <p:sldSz cx="9144000" cy="5143500" type="screen16x9"/>
  <p:notesSz cx="6858000" cy="9144000"/>
  <p:defaultTextStyle>
    <a:defPPr>
      <a:defRPr lang="en-IN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1pPr>
    <a:lvl2pPr marL="456615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2pPr>
    <a:lvl3pPr marL="913227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3pPr>
    <a:lvl4pPr marL="1369838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4pPr>
    <a:lvl5pPr marL="1826451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5pPr>
    <a:lvl6pPr marL="2283065" algn="l" defTabSz="913227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6pPr>
    <a:lvl7pPr marL="2739682" algn="l" defTabSz="913227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7pPr>
    <a:lvl8pPr marL="3196292" algn="l" defTabSz="913227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8pPr>
    <a:lvl9pPr marL="3652906" algn="l" defTabSz="913227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gar A. Modak" initials="SAM" lastIdx="3" clrIdx="0"/>
  <p:cmAuthor id="1" name="Vimal Pillai" initials="VP" lastIdx="6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87C5"/>
    <a:srgbClr val="D82F6A"/>
    <a:srgbClr val="D06027"/>
    <a:srgbClr val="8DB74A"/>
    <a:srgbClr val="50B1C4"/>
    <a:srgbClr val="01AEED"/>
    <a:srgbClr val="C03019"/>
    <a:srgbClr val="D1FFE4"/>
    <a:srgbClr val="F7CDCD"/>
    <a:srgbClr val="D0B9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37" autoAdjust="0"/>
    <p:restoredTop sz="94151" autoAdjust="0"/>
  </p:normalViewPr>
  <p:slideViewPr>
    <p:cSldViewPr>
      <p:cViewPr varScale="1">
        <p:scale>
          <a:sx n="91" d="100"/>
          <a:sy n="91" d="100"/>
        </p:scale>
        <p:origin x="78" y="24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-19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3.xml"/><Relationship Id="rId21" Type="http://schemas.openxmlformats.org/officeDocument/2006/relationships/slideMaster" Target="slideMasters/slideMaster18.xml"/><Relationship Id="rId42" Type="http://schemas.openxmlformats.org/officeDocument/2006/relationships/slideMaster" Target="slideMasters/slideMaster39.xml"/><Relationship Id="rId47" Type="http://schemas.openxmlformats.org/officeDocument/2006/relationships/slideMaster" Target="slideMasters/slideMaster44.xml"/><Relationship Id="rId63" Type="http://schemas.openxmlformats.org/officeDocument/2006/relationships/slideMaster" Target="slideMasters/slideMaster60.xml"/><Relationship Id="rId68" Type="http://schemas.openxmlformats.org/officeDocument/2006/relationships/slideMaster" Target="slideMasters/slideMaster65.xml"/><Relationship Id="rId16" Type="http://schemas.openxmlformats.org/officeDocument/2006/relationships/slideMaster" Target="slideMasters/slideMaster1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Master" Target="slideMasters/slideMaster29.xml"/><Relationship Id="rId37" Type="http://schemas.openxmlformats.org/officeDocument/2006/relationships/slideMaster" Target="slideMasters/slideMaster34.xml"/><Relationship Id="rId40" Type="http://schemas.openxmlformats.org/officeDocument/2006/relationships/slideMaster" Target="slideMasters/slideMaster37.xml"/><Relationship Id="rId45" Type="http://schemas.openxmlformats.org/officeDocument/2006/relationships/slideMaster" Target="slideMasters/slideMaster42.xml"/><Relationship Id="rId53" Type="http://schemas.openxmlformats.org/officeDocument/2006/relationships/slideMaster" Target="slideMasters/slideMaster50.xml"/><Relationship Id="rId58" Type="http://schemas.openxmlformats.org/officeDocument/2006/relationships/slideMaster" Target="slideMasters/slideMaster55.xml"/><Relationship Id="rId66" Type="http://schemas.openxmlformats.org/officeDocument/2006/relationships/slideMaster" Target="slideMasters/slideMaster63.xml"/><Relationship Id="rId7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61" Type="http://schemas.openxmlformats.org/officeDocument/2006/relationships/slideMaster" Target="slideMasters/slideMaster58.xml"/><Relationship Id="rId19" Type="http://schemas.openxmlformats.org/officeDocument/2006/relationships/slideMaster" Target="slideMasters/slideMaster1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Master" Target="slideMasters/slideMaster27.xml"/><Relationship Id="rId35" Type="http://schemas.openxmlformats.org/officeDocument/2006/relationships/slideMaster" Target="slideMasters/slideMaster32.xml"/><Relationship Id="rId43" Type="http://schemas.openxmlformats.org/officeDocument/2006/relationships/slideMaster" Target="slideMasters/slideMaster40.xml"/><Relationship Id="rId48" Type="http://schemas.openxmlformats.org/officeDocument/2006/relationships/slideMaster" Target="slideMasters/slideMaster45.xml"/><Relationship Id="rId56" Type="http://schemas.openxmlformats.org/officeDocument/2006/relationships/slideMaster" Target="slideMasters/slideMaster53.xml"/><Relationship Id="rId64" Type="http://schemas.openxmlformats.org/officeDocument/2006/relationships/slideMaster" Target="slideMasters/slideMaster61.xml"/><Relationship Id="rId69" Type="http://schemas.openxmlformats.org/officeDocument/2006/relationships/slideMaster" Target="slideMasters/slideMaster66.xml"/><Relationship Id="rId77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51" Type="http://schemas.openxmlformats.org/officeDocument/2006/relationships/slideMaster" Target="slideMasters/slideMaster48.xml"/><Relationship Id="rId72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Master" Target="slideMasters/slideMaster30.xml"/><Relationship Id="rId38" Type="http://schemas.openxmlformats.org/officeDocument/2006/relationships/slideMaster" Target="slideMasters/slideMaster35.xml"/><Relationship Id="rId46" Type="http://schemas.openxmlformats.org/officeDocument/2006/relationships/slideMaster" Target="slideMasters/slideMaster43.xml"/><Relationship Id="rId59" Type="http://schemas.openxmlformats.org/officeDocument/2006/relationships/slideMaster" Target="slideMasters/slideMaster56.xml"/><Relationship Id="rId67" Type="http://schemas.openxmlformats.org/officeDocument/2006/relationships/slideMaster" Target="slideMasters/slideMaster64.xml"/><Relationship Id="rId20" Type="http://schemas.openxmlformats.org/officeDocument/2006/relationships/slideMaster" Target="slideMasters/slideMaster17.xml"/><Relationship Id="rId41" Type="http://schemas.openxmlformats.org/officeDocument/2006/relationships/slideMaster" Target="slideMasters/slideMaster38.xml"/><Relationship Id="rId54" Type="http://schemas.openxmlformats.org/officeDocument/2006/relationships/slideMaster" Target="slideMasters/slideMaster51.xml"/><Relationship Id="rId62" Type="http://schemas.openxmlformats.org/officeDocument/2006/relationships/slideMaster" Target="slideMasters/slideMaster59.xml"/><Relationship Id="rId70" Type="http://schemas.openxmlformats.org/officeDocument/2006/relationships/slideMaster" Target="slideMasters/slideMaster67.xml"/><Relationship Id="rId75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Master" Target="slideMasters/slideMaster33.xml"/><Relationship Id="rId49" Type="http://schemas.openxmlformats.org/officeDocument/2006/relationships/slideMaster" Target="slideMasters/slideMaster46.xml"/><Relationship Id="rId57" Type="http://schemas.openxmlformats.org/officeDocument/2006/relationships/slideMaster" Target="slideMasters/slideMaster54.xml"/><Relationship Id="rId10" Type="http://schemas.openxmlformats.org/officeDocument/2006/relationships/slideMaster" Target="slideMasters/slideMaster7.xml"/><Relationship Id="rId31" Type="http://schemas.openxmlformats.org/officeDocument/2006/relationships/slideMaster" Target="slideMasters/slideMaster28.xml"/><Relationship Id="rId44" Type="http://schemas.openxmlformats.org/officeDocument/2006/relationships/slideMaster" Target="slideMasters/slideMaster41.xml"/><Relationship Id="rId52" Type="http://schemas.openxmlformats.org/officeDocument/2006/relationships/slideMaster" Target="slideMasters/slideMaster49.xml"/><Relationship Id="rId60" Type="http://schemas.openxmlformats.org/officeDocument/2006/relationships/slideMaster" Target="slideMasters/slideMaster57.xml"/><Relationship Id="rId65" Type="http://schemas.openxmlformats.org/officeDocument/2006/relationships/slideMaster" Target="slideMasters/slideMaster62.xml"/><Relationship Id="rId73" Type="http://schemas.openxmlformats.org/officeDocument/2006/relationships/handoutMaster" Target="handoutMasters/handoutMaster1.xml"/><Relationship Id="rId78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9" Type="http://schemas.openxmlformats.org/officeDocument/2006/relationships/slideMaster" Target="slideMasters/slideMaster36.xml"/><Relationship Id="rId34" Type="http://schemas.openxmlformats.org/officeDocument/2006/relationships/slideMaster" Target="slideMasters/slideMaster31.xml"/><Relationship Id="rId50" Type="http://schemas.openxmlformats.org/officeDocument/2006/relationships/slideMaster" Target="slideMasters/slideMaster47.xml"/><Relationship Id="rId55" Type="http://schemas.openxmlformats.org/officeDocument/2006/relationships/slideMaster" Target="slideMasters/slideMaster52.xml"/><Relationship Id="rId76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1.xml"/><Relationship Id="rId2" Type="http://schemas.openxmlformats.org/officeDocument/2006/relationships/customXml" Target="../customXml/item2.xml"/><Relationship Id="rId29" Type="http://schemas.openxmlformats.org/officeDocument/2006/relationships/slideMaster" Target="slideMasters/slideMaster2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/>
            </a:lvl1pPr>
          </a:lstStyle>
          <a:p>
            <a:endParaRPr lang="en-IN" dirty="0"/>
          </a:p>
        </p:txBody>
      </p:sp>
      <p:sp>
        <p:nvSpPr>
          <p:cNvPr id="2457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/>
            </a:lvl1pPr>
          </a:lstStyle>
          <a:p>
            <a:endParaRPr lang="en-IN" dirty="0"/>
          </a:p>
        </p:txBody>
      </p:sp>
      <p:sp>
        <p:nvSpPr>
          <p:cNvPr id="2457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/>
            </a:lvl1pPr>
          </a:lstStyle>
          <a:p>
            <a:endParaRPr lang="en-IN" dirty="0"/>
          </a:p>
        </p:txBody>
      </p:sp>
      <p:sp>
        <p:nvSpPr>
          <p:cNvPr id="2457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/>
            </a:lvl1pPr>
          </a:lstStyle>
          <a:p>
            <a:fld id="{C011A926-4865-462E-A4B4-A97206017321}" type="slidenum">
              <a:rPr lang="en-IN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32797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7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/>
            </a:lvl1pPr>
          </a:lstStyle>
          <a:p>
            <a:endParaRPr lang="en-IN" dirty="0"/>
          </a:p>
        </p:txBody>
      </p:sp>
      <p:sp>
        <p:nvSpPr>
          <p:cNvPr id="24473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/>
            </a:lvl1pPr>
          </a:lstStyle>
          <a:p>
            <a:endParaRPr lang="en-IN" dirty="0"/>
          </a:p>
        </p:txBody>
      </p:sp>
      <p:sp>
        <p:nvSpPr>
          <p:cNvPr id="2447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447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IN"/>
              <a:t>Click to edit Master text styles</a:t>
            </a:r>
          </a:p>
          <a:p>
            <a:pPr lvl="1"/>
            <a:r>
              <a:rPr lang="en-IN"/>
              <a:t>Second level</a:t>
            </a:r>
          </a:p>
          <a:p>
            <a:pPr lvl="2"/>
            <a:r>
              <a:rPr lang="en-IN"/>
              <a:t>Third level</a:t>
            </a:r>
          </a:p>
          <a:p>
            <a:pPr lvl="3"/>
            <a:r>
              <a:rPr lang="en-IN"/>
              <a:t>Fourth level</a:t>
            </a:r>
          </a:p>
          <a:p>
            <a:pPr lvl="4"/>
            <a:r>
              <a:rPr lang="en-IN"/>
              <a:t>Fifth level</a:t>
            </a:r>
          </a:p>
        </p:txBody>
      </p:sp>
      <p:sp>
        <p:nvSpPr>
          <p:cNvPr id="24474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/>
            </a:lvl1pPr>
          </a:lstStyle>
          <a:p>
            <a:endParaRPr lang="en-IN" dirty="0"/>
          </a:p>
        </p:txBody>
      </p:sp>
      <p:sp>
        <p:nvSpPr>
          <p:cNvPr id="2447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/>
            </a:lvl1pPr>
          </a:lstStyle>
          <a:p>
            <a:fld id="{7018D3D3-3A32-4D02-81B6-60163AF38881}" type="slidenum">
              <a:rPr lang="en-IN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3745122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6615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3227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69838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6451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3065" algn="l" defTabSz="9132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9682" algn="l" defTabSz="9132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6292" algn="l" defTabSz="9132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2906" algn="l" defTabSz="9132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0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10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10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10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10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10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10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10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10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10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10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10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10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10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10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0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0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0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0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0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0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0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5.xml"/><Relationship Id="rId1" Type="http://schemas.openxmlformats.org/officeDocument/2006/relationships/tags" Target="../tags/tag1.xml"/></Relationships>
</file>

<file path=ppt/slideLayouts/_rels/slideLayout10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10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10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10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10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10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10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10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6.xml"/><Relationship Id="rId1" Type="http://schemas.openxmlformats.org/officeDocument/2006/relationships/tags" Target="../tags/tag2.xml"/></Relationships>
</file>

<file path=ppt/slideLayouts/_rels/slideLayout10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10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0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0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0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0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0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0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0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7.xml"/><Relationship Id="rId1" Type="http://schemas.openxmlformats.org/officeDocument/2006/relationships/tags" Target="../tags/tag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7.xml"/><Relationship Id="rId1" Type="http://schemas.openxmlformats.org/officeDocument/2006/relationships/themeOverride" Target="../theme/themeOverride1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9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6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0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1.xml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2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2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2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2.xml"/></Relationships>
</file>

<file path=ppt/slideLayouts/_rels/slideLayout42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2.xml"/><Relationship Id="rId4" Type="http://schemas.openxmlformats.org/officeDocument/2006/relationships/image" Target="../media/image6.png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4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2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2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2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2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2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2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2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2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1.xml"/><Relationship Id="rId1" Type="http://schemas.openxmlformats.org/officeDocument/2006/relationships/themeOverride" Target="../theme/themeOverride2.xml"/></Relationships>
</file>

<file path=ppt/slideLayouts/_rels/slideLayout7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1.xml"/><Relationship Id="rId1" Type="http://schemas.openxmlformats.org/officeDocument/2006/relationships/themeOverride" Target="../theme/themeOverride3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1.xml"/><Relationship Id="rId1" Type="http://schemas.openxmlformats.org/officeDocument/2006/relationships/themeOverride" Target="../theme/themeOverride4.xml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8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9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9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9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9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9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9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9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9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9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9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9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9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9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9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9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9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9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9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9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9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9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9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9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9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9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9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9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9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9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9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9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9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9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9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9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9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9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9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9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9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9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9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9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9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9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9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9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9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9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9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3.xml"/></Relationships>
</file>

<file path=ppt/slideLayouts/_rels/slideLayout9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3.xml"/></Relationships>
</file>

<file path=ppt/slideLayouts/_rels/slideLayout9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3032094"/>
            <a:ext cx="6851104" cy="565770"/>
          </a:xfrm>
        </p:spPr>
        <p:txBody>
          <a:bodyPr anchor="b"/>
          <a:lstStyle>
            <a:lvl1pPr>
              <a:defRPr sz="240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Click to edit master sub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35696" y="1491630"/>
            <a:ext cx="6851104" cy="1533618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s</a:t>
            </a:r>
          </a:p>
        </p:txBody>
      </p:sp>
    </p:spTree>
    <p:extLst>
      <p:ext uri="{BB962C8B-B14F-4D97-AF65-F5344CB8AC3E}">
        <p14:creationId xmlns:p14="http://schemas.microsoft.com/office/powerpoint/2010/main" val="7650044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8443809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9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060623197"/>
      </p:ext>
    </p:extLst>
  </p:cSld>
  <p:clrMapOvr>
    <a:masterClrMapping/>
  </p:clrMapOvr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789579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8120087"/>
      </p:ext>
    </p:extLst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8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488239496"/>
      </p:ext>
    </p:extLst>
  </p:cSld>
  <p:clrMapOvr>
    <a:masterClrMapping/>
  </p:clrMapOvr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107740498"/>
      </p:ext>
    </p:extLst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48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802648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077879430"/>
      </p:ext>
    </p:extLst>
  </p:cSld>
  <p:clrMapOvr>
    <a:masterClrMapping/>
  </p:clrMapOvr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432352062"/>
      </p:ext>
    </p:extLst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416711276"/>
      </p:ext>
    </p:extLst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72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500851338"/>
      </p:ext>
    </p:extLst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2285720" y="0"/>
            <a:ext cx="6858283" cy="4754880"/>
          </a:xfrm>
          <a:prstGeom prst="rect">
            <a:avLst/>
          </a:prstGeom>
          <a:pattFill prst="lgCheck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 b="1" i="0" baseline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picture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433470" y="2283752"/>
            <a:ext cx="1917122" cy="1627693"/>
          </a:xfrm>
          <a:prstGeom prst="rect">
            <a:avLst/>
          </a:prstGeom>
        </p:spPr>
        <p:txBody>
          <a:bodyPr/>
          <a:lstStyle>
            <a:lvl1pPr>
              <a:lnSpc>
                <a:spcPct val="75000"/>
              </a:lnSpc>
              <a:defRPr sz="3600" b="1" i="0">
                <a:solidFill>
                  <a:schemeClr val="tx1"/>
                </a:solidFill>
                <a:latin typeface="Bebas Neue" charset="0"/>
                <a:ea typeface="Bebas Neue" charset="0"/>
                <a:cs typeface="Bebas Neue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514350" y="4566805"/>
            <a:ext cx="32731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0738253"/>
      </p:ext>
    </p:extLst>
  </p:cSld>
  <p:clrMapOvr>
    <a:masterClrMapping/>
  </p:clrMapOvr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514350" y="4566805"/>
            <a:ext cx="32731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739518"/>
      </p:ext>
    </p:extLst>
  </p:cSld>
  <p:clrMapOvr>
    <a:masterClrMapping/>
  </p:clrMapOvr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2310062" cy="4773168"/>
          </a:xfrm>
          <a:prstGeom prst="rect">
            <a:avLst/>
          </a:prstGeom>
          <a:pattFill prst="lgCheck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 b="1" i="0" baseline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picture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514350" y="4566805"/>
            <a:ext cx="32731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07348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968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1311293449"/>
      </p:ext>
    </p:extLst>
  </p:cSld>
  <p:clrMapOvr>
    <a:masterClrMapping/>
  </p:clrMapOvr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514350" y="954389"/>
            <a:ext cx="32731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6406071"/>
      </p:ext>
    </p:extLst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pattFill prst="lgCheck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 b="1" i="0" baseline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picture</a:t>
            </a:r>
          </a:p>
        </p:txBody>
      </p:sp>
    </p:spTree>
    <p:extLst>
      <p:ext uri="{BB962C8B-B14F-4D97-AF65-F5344CB8AC3E}">
        <p14:creationId xmlns:p14="http://schemas.microsoft.com/office/powerpoint/2010/main" val="3224266381"/>
      </p:ext>
    </p:extLst>
  </p:cSld>
  <p:clrMapOvr>
    <a:masterClrMapping/>
  </p:clrMapOvr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2285720" y="1"/>
            <a:ext cx="6858283" cy="3373394"/>
          </a:xfrm>
          <a:prstGeom prst="rect">
            <a:avLst/>
          </a:prstGeom>
          <a:pattFill prst="lgCheck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 b="1" i="0" baseline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picture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481188"/>
      </p:ext>
    </p:extLst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79006422"/>
      </p:ext>
    </p:extLst>
  </p:cSld>
  <p:clrMapOvr>
    <a:masterClrMapping/>
  </p:clrMapOvr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9074109"/>
      </p:ext>
    </p:extLst>
  </p:cSld>
  <p:clrMapOvr>
    <a:masterClrMapping/>
  </p:clrMapOvr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67"/>
            <a:ext cx="7772400" cy="11025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146354609"/>
      </p:ext>
    </p:extLst>
  </p:cSld>
  <p:clrMapOvr>
    <a:masterClrMapping/>
  </p:clrMapOvr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527"/>
            <a:ext cx="8229600" cy="648073"/>
          </a:xfrm>
        </p:spPr>
        <p:txBody>
          <a:bodyPr>
            <a:normAutofit/>
          </a:bodyPr>
          <a:lstStyle>
            <a:lvl1pPr>
              <a:defRPr sz="240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789579"/>
            <a:ext cx="8207375" cy="3564731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6404546"/>
      </p:ext>
    </p:extLst>
  </p:cSld>
  <p:clrMapOvr>
    <a:masterClrMapping/>
  </p:clrMapOvr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4" y="3305179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4" y="2180042"/>
            <a:ext cx="7772400" cy="1125141"/>
          </a:xfrm>
        </p:spPr>
        <p:txBody>
          <a:bodyPr anchor="b"/>
          <a:lstStyle>
            <a:lvl1pPr marL="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1pPr>
            <a:lvl2pPr marL="4571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29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82843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2285547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74265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3199767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36568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325012560"/>
      </p:ext>
    </p:extLst>
  </p:cSld>
  <p:clrMapOvr>
    <a:masterClrMapping/>
  </p:clrMapOvr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789555"/>
            <a:ext cx="4038600" cy="3394474"/>
          </a:xfrm>
        </p:spPr>
        <p:txBody>
          <a:bodyPr/>
          <a:lstStyle>
            <a:lvl1pPr>
              <a:defRPr sz="19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3" y="789555"/>
            <a:ext cx="4038600" cy="3394474"/>
          </a:xfrm>
        </p:spPr>
        <p:txBody>
          <a:bodyPr/>
          <a:lstStyle>
            <a:lvl1pPr>
              <a:defRPr sz="19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751299737"/>
      </p:ext>
    </p:extLst>
  </p:cSld>
  <p:clrMapOvr>
    <a:masterClrMapping/>
  </p:clrMapOvr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50"/>
            <a:ext cx="4040188" cy="479824"/>
          </a:xfrm>
        </p:spPr>
        <p:txBody>
          <a:bodyPr anchor="b">
            <a:normAutofit/>
          </a:bodyPr>
          <a:lstStyle>
            <a:lvl1pPr marL="0" indent="0">
              <a:buNone/>
              <a:defRPr sz="1900" b="0"/>
            </a:lvl1pPr>
            <a:lvl2pPr marL="457109" indent="0">
              <a:buNone/>
              <a:defRPr sz="1900" b="1"/>
            </a:lvl2pPr>
            <a:lvl3pPr marL="914217" indent="0">
              <a:buNone/>
              <a:defRPr sz="1800" b="1"/>
            </a:lvl3pPr>
            <a:lvl4pPr marL="1371329" indent="0">
              <a:buNone/>
              <a:defRPr sz="1600" b="1"/>
            </a:lvl4pPr>
            <a:lvl5pPr marL="1828438" indent="0">
              <a:buNone/>
              <a:defRPr sz="1600" b="1"/>
            </a:lvl5pPr>
            <a:lvl6pPr marL="2285547" indent="0">
              <a:buNone/>
              <a:defRPr sz="1600" b="1"/>
            </a:lvl6pPr>
            <a:lvl7pPr marL="2742655" indent="0">
              <a:buNone/>
              <a:defRPr sz="1600" b="1"/>
            </a:lvl7pPr>
            <a:lvl8pPr marL="3199767" indent="0">
              <a:buNone/>
              <a:defRPr sz="1600" b="1"/>
            </a:lvl8pPr>
            <a:lvl9pPr marL="365687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3"/>
            <a:ext cx="4040188" cy="2963464"/>
          </a:xfrm>
        </p:spPr>
        <p:txBody>
          <a:bodyPr/>
          <a:lstStyle>
            <a:lvl1pPr>
              <a:defRPr sz="19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802650"/>
            <a:ext cx="4041775" cy="479824"/>
          </a:xfrm>
        </p:spPr>
        <p:txBody>
          <a:bodyPr anchor="b">
            <a:normAutofit/>
          </a:bodyPr>
          <a:lstStyle>
            <a:lvl1pPr marL="0" indent="0">
              <a:buNone/>
              <a:defRPr sz="1900" b="0"/>
            </a:lvl1pPr>
            <a:lvl2pPr marL="457109" indent="0">
              <a:buNone/>
              <a:defRPr sz="1900" b="1"/>
            </a:lvl2pPr>
            <a:lvl3pPr marL="914217" indent="0">
              <a:buNone/>
              <a:defRPr sz="1800" b="1"/>
            </a:lvl3pPr>
            <a:lvl4pPr marL="1371329" indent="0">
              <a:buNone/>
              <a:defRPr sz="1600" b="1"/>
            </a:lvl4pPr>
            <a:lvl5pPr marL="1828438" indent="0">
              <a:buNone/>
              <a:defRPr sz="1600" b="1"/>
            </a:lvl5pPr>
            <a:lvl6pPr marL="2285547" indent="0">
              <a:buNone/>
              <a:defRPr sz="1600" b="1"/>
            </a:lvl6pPr>
            <a:lvl7pPr marL="2742655" indent="0">
              <a:buNone/>
              <a:defRPr sz="1600" b="1"/>
            </a:lvl7pPr>
            <a:lvl8pPr marL="3199767" indent="0">
              <a:buNone/>
              <a:defRPr sz="1600" b="1"/>
            </a:lvl8pPr>
            <a:lvl9pPr marL="365687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282473"/>
            <a:ext cx="4041775" cy="2963464"/>
          </a:xfrm>
        </p:spPr>
        <p:txBody>
          <a:bodyPr/>
          <a:lstStyle>
            <a:lvl1pPr>
              <a:defRPr sz="19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427066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789594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64203995"/>
      </p:ext>
    </p:extLst>
  </p:cSld>
  <p:clrMapOvr>
    <a:masterClrMapping/>
  </p:clrMapOvr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602019021"/>
      </p:ext>
    </p:extLst>
  </p:cSld>
  <p:clrMapOvr>
    <a:masterClrMapping/>
  </p:clrMapOvr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33897091"/>
      </p:ext>
    </p:extLst>
  </p:cSld>
  <p:clrMapOvr>
    <a:masterClrMapping/>
  </p:clrMapOvr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4"/>
            <a:ext cx="5486400" cy="425054"/>
          </a:xfrm>
        </p:spPr>
        <p:txBody>
          <a:bodyPr anchor="t"/>
          <a:lstStyle>
            <a:lvl1pPr algn="l">
              <a:defRPr sz="1900" b="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0"/>
            <a:ext cx="5486400" cy="3086100"/>
          </a:xfrm>
        </p:spPr>
        <p:txBody>
          <a:bodyPr/>
          <a:lstStyle>
            <a:lvl1pPr marL="0" indent="0">
              <a:buNone/>
              <a:defRPr sz="3100"/>
            </a:lvl1pPr>
            <a:lvl2pPr marL="457109" indent="0">
              <a:buNone/>
              <a:defRPr sz="2700"/>
            </a:lvl2pPr>
            <a:lvl3pPr marL="914217" indent="0">
              <a:buNone/>
              <a:defRPr sz="2400"/>
            </a:lvl3pPr>
            <a:lvl4pPr marL="1371329" indent="0">
              <a:buNone/>
              <a:defRPr sz="1900"/>
            </a:lvl4pPr>
            <a:lvl5pPr marL="1828438" indent="0">
              <a:buNone/>
              <a:defRPr sz="1900"/>
            </a:lvl5pPr>
            <a:lvl6pPr marL="2285547" indent="0">
              <a:buNone/>
              <a:defRPr sz="1900"/>
            </a:lvl6pPr>
            <a:lvl7pPr marL="2742655" indent="0">
              <a:buNone/>
              <a:defRPr sz="1900"/>
            </a:lvl7pPr>
            <a:lvl8pPr marL="3199767" indent="0">
              <a:buNone/>
              <a:defRPr sz="1900"/>
            </a:lvl8pPr>
            <a:lvl9pPr marL="3656875" indent="0">
              <a:buNone/>
              <a:defRPr sz="1900"/>
            </a:lvl9pPr>
          </a:lstStyle>
          <a:p>
            <a:r>
              <a:rPr lang="en-US" dirty="0"/>
              <a:t>Click icon to add picture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55"/>
            <a:ext cx="5486400" cy="603647"/>
          </a:xfrm>
        </p:spPr>
        <p:txBody>
          <a:bodyPr/>
          <a:lstStyle>
            <a:lvl1pPr marL="0" indent="0">
              <a:buNone/>
              <a:defRPr sz="1300"/>
            </a:lvl1pPr>
            <a:lvl2pPr marL="457109" indent="0">
              <a:buNone/>
              <a:defRPr sz="1100"/>
            </a:lvl2pPr>
            <a:lvl3pPr marL="914217" indent="0">
              <a:buNone/>
              <a:defRPr sz="1000"/>
            </a:lvl3pPr>
            <a:lvl4pPr marL="1371329" indent="0">
              <a:buNone/>
              <a:defRPr sz="1000"/>
            </a:lvl4pPr>
            <a:lvl5pPr marL="1828438" indent="0">
              <a:buNone/>
              <a:defRPr sz="1000"/>
            </a:lvl5pPr>
            <a:lvl6pPr marL="2285547" indent="0">
              <a:buNone/>
              <a:defRPr sz="1000"/>
            </a:lvl6pPr>
            <a:lvl7pPr marL="2742655" indent="0">
              <a:buNone/>
              <a:defRPr sz="1000"/>
            </a:lvl7pPr>
            <a:lvl8pPr marL="3199767" indent="0">
              <a:buNone/>
              <a:defRPr sz="1000"/>
            </a:lvl8pPr>
            <a:lvl9pPr marL="3656875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945449752"/>
      </p:ext>
    </p:extLst>
  </p:cSld>
  <p:clrMapOvr>
    <a:masterClrMapping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 Line Insight with Bullets (presenta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79473" y="492520"/>
            <a:ext cx="8777287" cy="55007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buNone/>
              <a:defRPr sz="2100" b="1">
                <a:solidFill>
                  <a:srgbClr val="E31837"/>
                </a:solidFill>
                <a:latin typeface="Helvetica" pitchFamily="34" charset="0"/>
                <a:cs typeface="Helvetica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77800" y="978573"/>
            <a:ext cx="8769350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4"/>
          <p:cNvSpPr>
            <a:spLocks noGrp="1" noChangeArrowheads="1"/>
          </p:cNvSpPr>
          <p:nvPr>
            <p:ph idx="1"/>
            <p:custDataLst>
              <p:tags r:id="rId1"/>
            </p:custDataLst>
          </p:nvPr>
        </p:nvSpPr>
        <p:spPr bwMode="auto">
          <a:xfrm>
            <a:off x="179388" y="1734742"/>
            <a:ext cx="8767762" cy="31658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285750" indent="-285750">
              <a:spcBef>
                <a:spcPts val="600"/>
              </a:spcBef>
              <a:buFont typeface="Arial" pitchFamily="34" charset="0"/>
              <a:buChar char="•"/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Helvetica" pitchFamily="34" charset="0"/>
                <a:cs typeface="Helvetica" pitchFamily="34" charset="0"/>
              </a:defRPr>
            </a:lvl1pPr>
            <a:lvl2pPr marL="548640" indent="-285750">
              <a:spcBef>
                <a:spcPts val="600"/>
              </a:spcBef>
              <a:buFont typeface="Arial" pitchFamily="34" charset="0"/>
              <a:buChar char="­"/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Helvetica" pitchFamily="34" charset="0"/>
                <a:cs typeface="Helvetica" pitchFamily="34" charset="0"/>
              </a:defRPr>
            </a:lvl2pPr>
            <a:lvl3pPr marL="914400" indent="-285750">
              <a:spcBef>
                <a:spcPts val="600"/>
              </a:spcBef>
              <a:buFont typeface="Courier New" pitchFamily="49" charset="0"/>
              <a:buChar char="o"/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Helvetica" pitchFamily="34" charset="0"/>
                <a:cs typeface="Helvetica" pitchFamily="34" charset="0"/>
              </a:defRPr>
            </a:lvl3pPr>
            <a:lvl4pPr marL="1280160" indent="-285750">
              <a:spcBef>
                <a:spcPts val="600"/>
              </a:spcBef>
              <a:buFont typeface="Arial" pitchFamily="34" charset="0"/>
              <a:buChar char="-"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Helvetica" pitchFamily="34" charset="0"/>
                <a:cs typeface="Helvetica" pitchFamily="34" charset="0"/>
              </a:defRPr>
            </a:lvl4pPr>
          </a:lstStyle>
          <a:p>
            <a:pPr lvl="0"/>
            <a:r>
              <a:rPr lang="en-US" dirty="0"/>
              <a:t>Helvetica18pts</a:t>
            </a:r>
            <a:endParaRPr lang="en-US" noProof="1"/>
          </a:p>
          <a:p>
            <a:pPr lvl="1"/>
            <a:r>
              <a:rPr lang="en-US" dirty="0"/>
              <a:t>Second level16pts</a:t>
            </a:r>
            <a:endParaRPr lang="en-US" noProof="1"/>
          </a:p>
          <a:p>
            <a:pPr lvl="2"/>
            <a:r>
              <a:rPr lang="en-US" noProof="1"/>
              <a:t>Third level</a:t>
            </a:r>
            <a:r>
              <a:rPr lang="en-US" dirty="0"/>
              <a:t>14pts</a:t>
            </a:r>
            <a:endParaRPr lang="en-CA" altLang="zh-CN" dirty="0"/>
          </a:p>
          <a:p>
            <a:pPr lvl="3"/>
            <a:r>
              <a:rPr lang="en-CA" altLang="zh-CN" dirty="0"/>
              <a:t>Fourth level 12pts</a:t>
            </a:r>
            <a:endParaRPr lang="en-CA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18500" y="187790"/>
            <a:ext cx="736600" cy="315468"/>
          </a:xfrm>
          <a:prstGeom prst="rect">
            <a:avLst/>
          </a:prstGeom>
          <a:solidFill>
            <a:srgbClr val="E31837"/>
          </a:solidFill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306B373-F627-4D96-B02C-82FBA53C8544}" type="slidenum">
              <a:rPr lang="en-US" smtClean="0">
                <a:solidFill>
                  <a:prstClr val="white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2828925" y="4900612"/>
            <a:ext cx="3475038" cy="242888"/>
          </a:xfrm>
          <a:prstGeom prst="rect">
            <a:avLst/>
          </a:prstGeom>
        </p:spPr>
        <p:txBody>
          <a:bodyPr tIns="91440" bIns="91440"/>
          <a:lstStyle>
            <a:lvl1pPr>
              <a:defRPr dirty="0">
                <a:latin typeface="Calibri" pitchFamily="34" charset="0"/>
                <a:cs typeface="Calibri" pitchFamily="34" charset="0"/>
              </a:defRPr>
            </a:lvl1pPr>
          </a:lstStyle>
          <a:p>
            <a:pPr algn="ctr" defTabSz="914217">
              <a:defRPr/>
            </a:pPr>
            <a:r>
              <a:rPr lang="en-US" sz="900" b="0">
                <a:solidFill>
                  <a:prstClr val="black">
                    <a:lumMod val="50000"/>
                    <a:lumOff val="50000"/>
                  </a:prstClr>
                </a:solidFill>
              </a:rPr>
              <a:t>Target and Accenture Confidential and Proprietary Information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169749" y="1103578"/>
            <a:ext cx="8777287" cy="55007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buNone/>
              <a:defRPr sz="1600" b="0">
                <a:solidFill>
                  <a:schemeClr val="accent1"/>
                </a:solidFill>
                <a:latin typeface="Helvetica" pitchFamily="34" charset="0"/>
                <a:cs typeface="Helvetica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5805890"/>
      </p:ext>
    </p:extLst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7"/>
            <a:ext cx="7772400" cy="11025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910876029"/>
      </p:ext>
    </p:extLst>
  </p:cSld>
  <p:clrMapOvr>
    <a:masterClrMapping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7"/>
            <a:ext cx="8229600" cy="648073"/>
          </a:xfrm>
        </p:spPr>
        <p:txBody>
          <a:bodyPr>
            <a:normAutofit/>
          </a:bodyPr>
          <a:lstStyle>
            <a:lvl1pPr>
              <a:defRPr sz="240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789562"/>
            <a:ext cx="8207375" cy="3564731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24916518"/>
      </p:ext>
    </p:extLst>
  </p:cSld>
  <p:clrMapOvr>
    <a:masterClrMapping/>
  </p:clrMapOvr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4" y="3305179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4" y="2180042"/>
            <a:ext cx="7772400" cy="1125141"/>
          </a:xfrm>
        </p:spPr>
        <p:txBody>
          <a:bodyPr anchor="b"/>
          <a:lstStyle>
            <a:lvl1pPr marL="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1pPr>
            <a:lvl2pPr marL="4571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29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82843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2285547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74265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3199767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36568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927540333"/>
      </p:ext>
    </p:extLst>
  </p:cSld>
  <p:clrMapOvr>
    <a:masterClrMapping/>
  </p:clrMapOvr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789555"/>
            <a:ext cx="4038600" cy="3394474"/>
          </a:xfrm>
        </p:spPr>
        <p:txBody>
          <a:bodyPr/>
          <a:lstStyle>
            <a:lvl1pPr>
              <a:defRPr sz="19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3" y="789555"/>
            <a:ext cx="4038600" cy="3394474"/>
          </a:xfrm>
        </p:spPr>
        <p:txBody>
          <a:bodyPr/>
          <a:lstStyle>
            <a:lvl1pPr>
              <a:defRPr sz="19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627002902"/>
      </p:ext>
    </p:extLst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50"/>
            <a:ext cx="4040188" cy="479824"/>
          </a:xfrm>
        </p:spPr>
        <p:txBody>
          <a:bodyPr anchor="b">
            <a:normAutofit/>
          </a:bodyPr>
          <a:lstStyle>
            <a:lvl1pPr marL="0" indent="0">
              <a:buNone/>
              <a:defRPr sz="1900" b="0"/>
            </a:lvl1pPr>
            <a:lvl2pPr marL="457109" indent="0">
              <a:buNone/>
              <a:defRPr sz="1900" b="1"/>
            </a:lvl2pPr>
            <a:lvl3pPr marL="914217" indent="0">
              <a:buNone/>
              <a:defRPr sz="1800" b="1"/>
            </a:lvl3pPr>
            <a:lvl4pPr marL="1371329" indent="0">
              <a:buNone/>
              <a:defRPr sz="1600" b="1"/>
            </a:lvl4pPr>
            <a:lvl5pPr marL="1828438" indent="0">
              <a:buNone/>
              <a:defRPr sz="1600" b="1"/>
            </a:lvl5pPr>
            <a:lvl6pPr marL="2285547" indent="0">
              <a:buNone/>
              <a:defRPr sz="1600" b="1"/>
            </a:lvl6pPr>
            <a:lvl7pPr marL="2742655" indent="0">
              <a:buNone/>
              <a:defRPr sz="1600" b="1"/>
            </a:lvl7pPr>
            <a:lvl8pPr marL="3199767" indent="0">
              <a:buNone/>
              <a:defRPr sz="1600" b="1"/>
            </a:lvl8pPr>
            <a:lvl9pPr marL="365687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3"/>
            <a:ext cx="4040188" cy="2963464"/>
          </a:xfrm>
        </p:spPr>
        <p:txBody>
          <a:bodyPr/>
          <a:lstStyle>
            <a:lvl1pPr>
              <a:defRPr sz="19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802650"/>
            <a:ext cx="4041775" cy="479824"/>
          </a:xfrm>
        </p:spPr>
        <p:txBody>
          <a:bodyPr anchor="b">
            <a:normAutofit/>
          </a:bodyPr>
          <a:lstStyle>
            <a:lvl1pPr marL="0" indent="0">
              <a:buNone/>
              <a:defRPr sz="1900" b="0"/>
            </a:lvl1pPr>
            <a:lvl2pPr marL="457109" indent="0">
              <a:buNone/>
              <a:defRPr sz="1900" b="1"/>
            </a:lvl2pPr>
            <a:lvl3pPr marL="914217" indent="0">
              <a:buNone/>
              <a:defRPr sz="1800" b="1"/>
            </a:lvl3pPr>
            <a:lvl4pPr marL="1371329" indent="0">
              <a:buNone/>
              <a:defRPr sz="1600" b="1"/>
            </a:lvl4pPr>
            <a:lvl5pPr marL="1828438" indent="0">
              <a:buNone/>
              <a:defRPr sz="1600" b="1"/>
            </a:lvl5pPr>
            <a:lvl6pPr marL="2285547" indent="0">
              <a:buNone/>
              <a:defRPr sz="1600" b="1"/>
            </a:lvl6pPr>
            <a:lvl7pPr marL="2742655" indent="0">
              <a:buNone/>
              <a:defRPr sz="1600" b="1"/>
            </a:lvl7pPr>
            <a:lvl8pPr marL="3199767" indent="0">
              <a:buNone/>
              <a:defRPr sz="1600" b="1"/>
            </a:lvl8pPr>
            <a:lvl9pPr marL="365687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282473"/>
            <a:ext cx="4041775" cy="2963464"/>
          </a:xfrm>
        </p:spPr>
        <p:txBody>
          <a:bodyPr/>
          <a:lstStyle>
            <a:lvl1pPr>
              <a:defRPr sz="19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199790221"/>
      </p:ext>
    </p:extLst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89716753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134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1085757914"/>
      </p:ext>
    </p:extLst>
  </p:cSld>
  <p:clrMapOvr>
    <a:masterClrMapping/>
  </p:clrMapOvr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868020246"/>
      </p:ext>
    </p:extLst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4"/>
            <a:ext cx="5486400" cy="425054"/>
          </a:xfrm>
        </p:spPr>
        <p:txBody>
          <a:bodyPr anchor="t"/>
          <a:lstStyle>
            <a:lvl1pPr algn="l">
              <a:defRPr sz="1900" b="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0"/>
            <a:ext cx="5486400" cy="3086100"/>
          </a:xfrm>
        </p:spPr>
        <p:txBody>
          <a:bodyPr/>
          <a:lstStyle>
            <a:lvl1pPr marL="0" indent="0">
              <a:buNone/>
              <a:defRPr sz="3100"/>
            </a:lvl1pPr>
            <a:lvl2pPr marL="457109" indent="0">
              <a:buNone/>
              <a:defRPr sz="2700"/>
            </a:lvl2pPr>
            <a:lvl3pPr marL="914217" indent="0">
              <a:buNone/>
              <a:defRPr sz="2400"/>
            </a:lvl3pPr>
            <a:lvl4pPr marL="1371329" indent="0">
              <a:buNone/>
              <a:defRPr sz="1900"/>
            </a:lvl4pPr>
            <a:lvl5pPr marL="1828438" indent="0">
              <a:buNone/>
              <a:defRPr sz="1900"/>
            </a:lvl5pPr>
            <a:lvl6pPr marL="2285547" indent="0">
              <a:buNone/>
              <a:defRPr sz="1900"/>
            </a:lvl6pPr>
            <a:lvl7pPr marL="2742655" indent="0">
              <a:buNone/>
              <a:defRPr sz="1900"/>
            </a:lvl7pPr>
            <a:lvl8pPr marL="3199767" indent="0">
              <a:buNone/>
              <a:defRPr sz="1900"/>
            </a:lvl8pPr>
            <a:lvl9pPr marL="3656875" indent="0">
              <a:buNone/>
              <a:defRPr sz="1900"/>
            </a:lvl9pPr>
          </a:lstStyle>
          <a:p>
            <a:r>
              <a:rPr lang="en-US" dirty="0"/>
              <a:t>Click icon to add picture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15"/>
            <a:ext cx="5486400" cy="603647"/>
          </a:xfrm>
        </p:spPr>
        <p:txBody>
          <a:bodyPr/>
          <a:lstStyle>
            <a:lvl1pPr marL="0" indent="0">
              <a:buNone/>
              <a:defRPr sz="1300"/>
            </a:lvl1pPr>
            <a:lvl2pPr marL="457109" indent="0">
              <a:buNone/>
              <a:defRPr sz="1100"/>
            </a:lvl2pPr>
            <a:lvl3pPr marL="914217" indent="0">
              <a:buNone/>
              <a:defRPr sz="1000"/>
            </a:lvl3pPr>
            <a:lvl4pPr marL="1371329" indent="0">
              <a:buNone/>
              <a:defRPr sz="1000"/>
            </a:lvl4pPr>
            <a:lvl5pPr marL="1828438" indent="0">
              <a:buNone/>
              <a:defRPr sz="1000"/>
            </a:lvl5pPr>
            <a:lvl6pPr marL="2285547" indent="0">
              <a:buNone/>
              <a:defRPr sz="1000"/>
            </a:lvl6pPr>
            <a:lvl7pPr marL="2742655" indent="0">
              <a:buNone/>
              <a:defRPr sz="1000"/>
            </a:lvl7pPr>
            <a:lvl8pPr marL="3199767" indent="0">
              <a:buNone/>
              <a:defRPr sz="1000"/>
            </a:lvl8pPr>
            <a:lvl9pPr marL="3656875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12817476"/>
      </p:ext>
    </p:extLst>
  </p:cSld>
  <p:clrMapOvr>
    <a:masterClrMapping/>
  </p:clrMapOvr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 Line Insight with Bullets (presenta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79393" y="492520"/>
            <a:ext cx="8777287" cy="55007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buNone/>
              <a:defRPr sz="2100" b="1">
                <a:solidFill>
                  <a:srgbClr val="E31837"/>
                </a:solidFill>
                <a:latin typeface="Helvetica" pitchFamily="34" charset="0"/>
                <a:cs typeface="Helvetica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77800" y="978573"/>
            <a:ext cx="8769350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4"/>
          <p:cNvSpPr>
            <a:spLocks noGrp="1" noChangeArrowheads="1"/>
          </p:cNvSpPr>
          <p:nvPr>
            <p:ph idx="1"/>
            <p:custDataLst>
              <p:tags r:id="rId1"/>
            </p:custDataLst>
          </p:nvPr>
        </p:nvSpPr>
        <p:spPr bwMode="auto">
          <a:xfrm>
            <a:off x="179388" y="1734742"/>
            <a:ext cx="8767762" cy="31658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285750" indent="-285750">
              <a:spcBef>
                <a:spcPts val="600"/>
              </a:spcBef>
              <a:buFont typeface="Arial" pitchFamily="34" charset="0"/>
              <a:buChar char="•"/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Helvetica" pitchFamily="34" charset="0"/>
                <a:cs typeface="Helvetica" pitchFamily="34" charset="0"/>
              </a:defRPr>
            </a:lvl1pPr>
            <a:lvl2pPr marL="548640" indent="-285750">
              <a:spcBef>
                <a:spcPts val="600"/>
              </a:spcBef>
              <a:buFont typeface="Arial" pitchFamily="34" charset="0"/>
              <a:buChar char="­"/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Helvetica" pitchFamily="34" charset="0"/>
                <a:cs typeface="Helvetica" pitchFamily="34" charset="0"/>
              </a:defRPr>
            </a:lvl2pPr>
            <a:lvl3pPr marL="914400" indent="-285750">
              <a:spcBef>
                <a:spcPts val="600"/>
              </a:spcBef>
              <a:buFont typeface="Courier New" pitchFamily="49" charset="0"/>
              <a:buChar char="o"/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Helvetica" pitchFamily="34" charset="0"/>
                <a:cs typeface="Helvetica" pitchFamily="34" charset="0"/>
              </a:defRPr>
            </a:lvl3pPr>
            <a:lvl4pPr marL="1280160" indent="-285750">
              <a:spcBef>
                <a:spcPts val="600"/>
              </a:spcBef>
              <a:buFont typeface="Arial" pitchFamily="34" charset="0"/>
              <a:buChar char="-"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Helvetica" pitchFamily="34" charset="0"/>
                <a:cs typeface="Helvetica" pitchFamily="34" charset="0"/>
              </a:defRPr>
            </a:lvl4pPr>
          </a:lstStyle>
          <a:p>
            <a:pPr lvl="0"/>
            <a:r>
              <a:rPr lang="en-US" dirty="0"/>
              <a:t>Helvetica18pts</a:t>
            </a:r>
            <a:endParaRPr lang="en-US" noProof="1"/>
          </a:p>
          <a:p>
            <a:pPr lvl="1"/>
            <a:r>
              <a:rPr lang="en-US" dirty="0"/>
              <a:t>Second level16pts</a:t>
            </a:r>
            <a:endParaRPr lang="en-US" noProof="1"/>
          </a:p>
          <a:p>
            <a:pPr lvl="2"/>
            <a:r>
              <a:rPr lang="en-US" noProof="1"/>
              <a:t>Third level</a:t>
            </a:r>
            <a:r>
              <a:rPr lang="en-US" dirty="0"/>
              <a:t>14pts</a:t>
            </a:r>
            <a:endParaRPr lang="en-CA" altLang="zh-CN" dirty="0"/>
          </a:p>
          <a:p>
            <a:pPr lvl="3"/>
            <a:r>
              <a:rPr lang="en-CA" altLang="zh-CN" dirty="0"/>
              <a:t>Fourth level 12pts</a:t>
            </a:r>
            <a:endParaRPr lang="en-CA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18500" y="187790"/>
            <a:ext cx="736600" cy="315468"/>
          </a:xfrm>
          <a:prstGeom prst="rect">
            <a:avLst/>
          </a:prstGeom>
          <a:solidFill>
            <a:srgbClr val="E31837"/>
          </a:solidFill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306B373-F627-4D96-B02C-82FBA53C8544}" type="slidenum">
              <a:rPr lang="en-US" smtClean="0">
                <a:solidFill>
                  <a:prstClr val="white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2828925" y="4900612"/>
            <a:ext cx="3475038" cy="242888"/>
          </a:xfrm>
          <a:prstGeom prst="rect">
            <a:avLst/>
          </a:prstGeom>
        </p:spPr>
        <p:txBody>
          <a:bodyPr tIns="91440" bIns="91440"/>
          <a:lstStyle>
            <a:lvl1pPr>
              <a:defRPr dirty="0">
                <a:latin typeface="Calibri" pitchFamily="34" charset="0"/>
                <a:cs typeface="Calibri" pitchFamily="34" charset="0"/>
              </a:defRPr>
            </a:lvl1pPr>
          </a:lstStyle>
          <a:p>
            <a:pPr algn="ctr" defTabSz="914217">
              <a:defRPr/>
            </a:pPr>
            <a:r>
              <a:rPr lang="en-US" sz="900" b="0">
                <a:solidFill>
                  <a:prstClr val="black">
                    <a:lumMod val="50000"/>
                    <a:lumOff val="50000"/>
                  </a:prstClr>
                </a:solidFill>
              </a:rPr>
              <a:t>Target and Accenture Confidential and Proprietary Information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169669" y="1103578"/>
            <a:ext cx="8777287" cy="55007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buNone/>
              <a:defRPr sz="1600" b="0">
                <a:solidFill>
                  <a:schemeClr val="accent1"/>
                </a:solidFill>
                <a:latin typeface="Helvetica" pitchFamily="34" charset="0"/>
                <a:cs typeface="Helvetica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5780123"/>
      </p:ext>
    </p:extLst>
  </p:cSld>
  <p:clrMapOvr>
    <a:masterClrMapping/>
  </p:clrMapOvr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35697" y="3036359"/>
            <a:ext cx="6851104" cy="5615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3564978"/>
      </p:ext>
    </p:extLst>
  </p:cSld>
  <p:clrMapOvr>
    <a:masterClrMapping/>
  </p:clrMapOvr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5"/>
            <a:ext cx="7772400" cy="11025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844995730"/>
      </p:ext>
    </p:extLst>
  </p:cSld>
  <p:clrMapOvr>
    <a:masterClrMapping/>
  </p:clrMapOvr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5"/>
            <a:ext cx="8229600" cy="648073"/>
          </a:xfrm>
        </p:spPr>
        <p:txBody>
          <a:bodyPr>
            <a:normAutofit/>
          </a:bodyPr>
          <a:lstStyle>
            <a:lvl1pPr>
              <a:defRPr sz="240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1" y="789560"/>
            <a:ext cx="8207375" cy="3564731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60704812"/>
      </p:ext>
    </p:extLst>
  </p:cSld>
  <p:clrMapOvr>
    <a:masterClrMapping/>
  </p:clrMapOvr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4" y="3305177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4" y="2180040"/>
            <a:ext cx="7772400" cy="1125141"/>
          </a:xfrm>
        </p:spPr>
        <p:txBody>
          <a:bodyPr anchor="b"/>
          <a:lstStyle>
            <a:lvl1pPr marL="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1pPr>
            <a:lvl2pPr marL="4571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29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82843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2285547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74265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3199767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36568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070267729"/>
      </p:ext>
    </p:extLst>
  </p:cSld>
  <p:clrMapOvr>
    <a:masterClrMapping/>
  </p:clrMapOvr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789554"/>
            <a:ext cx="4038600" cy="3394474"/>
          </a:xfrm>
        </p:spPr>
        <p:txBody>
          <a:bodyPr/>
          <a:lstStyle>
            <a:lvl1pPr>
              <a:defRPr sz="19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3" y="789554"/>
            <a:ext cx="4038600" cy="3394474"/>
          </a:xfrm>
        </p:spPr>
        <p:txBody>
          <a:bodyPr/>
          <a:lstStyle>
            <a:lvl1pPr>
              <a:defRPr sz="19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259836444"/>
      </p:ext>
    </p:extLst>
  </p:cSld>
  <p:clrMapOvr>
    <a:masterClrMapping/>
  </p:clrMapOvr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49"/>
            <a:ext cx="4040188" cy="479824"/>
          </a:xfrm>
        </p:spPr>
        <p:txBody>
          <a:bodyPr anchor="b">
            <a:normAutofit/>
          </a:bodyPr>
          <a:lstStyle>
            <a:lvl1pPr marL="0" indent="0">
              <a:buNone/>
              <a:defRPr sz="1900" b="0"/>
            </a:lvl1pPr>
            <a:lvl2pPr marL="457109" indent="0">
              <a:buNone/>
              <a:defRPr sz="1900" b="1"/>
            </a:lvl2pPr>
            <a:lvl3pPr marL="914217" indent="0">
              <a:buNone/>
              <a:defRPr sz="1800" b="1"/>
            </a:lvl3pPr>
            <a:lvl4pPr marL="1371329" indent="0">
              <a:buNone/>
              <a:defRPr sz="1600" b="1"/>
            </a:lvl4pPr>
            <a:lvl5pPr marL="1828438" indent="0">
              <a:buNone/>
              <a:defRPr sz="1600" b="1"/>
            </a:lvl5pPr>
            <a:lvl6pPr marL="2285547" indent="0">
              <a:buNone/>
              <a:defRPr sz="1600" b="1"/>
            </a:lvl6pPr>
            <a:lvl7pPr marL="2742655" indent="0">
              <a:buNone/>
              <a:defRPr sz="1600" b="1"/>
            </a:lvl7pPr>
            <a:lvl8pPr marL="3199767" indent="0">
              <a:buNone/>
              <a:defRPr sz="1600" b="1"/>
            </a:lvl8pPr>
            <a:lvl9pPr marL="365687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3"/>
            <a:ext cx="4040188" cy="2963464"/>
          </a:xfrm>
        </p:spPr>
        <p:txBody>
          <a:bodyPr/>
          <a:lstStyle>
            <a:lvl1pPr>
              <a:defRPr sz="19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2" y="802649"/>
            <a:ext cx="4041775" cy="479824"/>
          </a:xfrm>
        </p:spPr>
        <p:txBody>
          <a:bodyPr anchor="b">
            <a:normAutofit/>
          </a:bodyPr>
          <a:lstStyle>
            <a:lvl1pPr marL="0" indent="0">
              <a:buNone/>
              <a:defRPr sz="1900" b="0"/>
            </a:lvl1pPr>
            <a:lvl2pPr marL="457109" indent="0">
              <a:buNone/>
              <a:defRPr sz="1900" b="1"/>
            </a:lvl2pPr>
            <a:lvl3pPr marL="914217" indent="0">
              <a:buNone/>
              <a:defRPr sz="1800" b="1"/>
            </a:lvl3pPr>
            <a:lvl4pPr marL="1371329" indent="0">
              <a:buNone/>
              <a:defRPr sz="1600" b="1"/>
            </a:lvl4pPr>
            <a:lvl5pPr marL="1828438" indent="0">
              <a:buNone/>
              <a:defRPr sz="1600" b="1"/>
            </a:lvl5pPr>
            <a:lvl6pPr marL="2285547" indent="0">
              <a:buNone/>
              <a:defRPr sz="1600" b="1"/>
            </a:lvl6pPr>
            <a:lvl7pPr marL="2742655" indent="0">
              <a:buNone/>
              <a:defRPr sz="1600" b="1"/>
            </a:lvl7pPr>
            <a:lvl8pPr marL="3199767" indent="0">
              <a:buNone/>
              <a:defRPr sz="1600" b="1"/>
            </a:lvl8pPr>
            <a:lvl9pPr marL="365687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2" y="1282473"/>
            <a:ext cx="4041775" cy="2963464"/>
          </a:xfrm>
        </p:spPr>
        <p:txBody>
          <a:bodyPr/>
          <a:lstStyle>
            <a:lvl1pPr>
              <a:defRPr sz="19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617461333"/>
      </p:ext>
    </p:extLst>
  </p:cSld>
  <p:clrMapOvr>
    <a:masterClrMapping/>
  </p:clrMapOvr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98392935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1221345463"/>
      </p:ext>
    </p:extLst>
  </p:cSld>
  <p:clrMapOvr>
    <a:masterClrMapping/>
  </p:clrMapOvr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921968897"/>
      </p:ext>
    </p:extLst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4"/>
            <a:ext cx="5486400" cy="425054"/>
          </a:xfrm>
        </p:spPr>
        <p:txBody>
          <a:bodyPr anchor="t"/>
          <a:lstStyle>
            <a:lvl1pPr algn="l">
              <a:defRPr sz="1900" b="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0"/>
            <a:ext cx="5486400" cy="3086100"/>
          </a:xfrm>
        </p:spPr>
        <p:txBody>
          <a:bodyPr/>
          <a:lstStyle>
            <a:lvl1pPr marL="0" indent="0">
              <a:buNone/>
              <a:defRPr sz="3100"/>
            </a:lvl1pPr>
            <a:lvl2pPr marL="457109" indent="0">
              <a:buNone/>
              <a:defRPr sz="2700"/>
            </a:lvl2pPr>
            <a:lvl3pPr marL="914217" indent="0">
              <a:buNone/>
              <a:defRPr sz="2400"/>
            </a:lvl3pPr>
            <a:lvl4pPr marL="1371329" indent="0">
              <a:buNone/>
              <a:defRPr sz="1900"/>
            </a:lvl4pPr>
            <a:lvl5pPr marL="1828438" indent="0">
              <a:buNone/>
              <a:defRPr sz="1900"/>
            </a:lvl5pPr>
            <a:lvl6pPr marL="2285547" indent="0">
              <a:buNone/>
              <a:defRPr sz="1900"/>
            </a:lvl6pPr>
            <a:lvl7pPr marL="2742655" indent="0">
              <a:buNone/>
              <a:defRPr sz="1900"/>
            </a:lvl7pPr>
            <a:lvl8pPr marL="3199767" indent="0">
              <a:buNone/>
              <a:defRPr sz="1900"/>
            </a:lvl8pPr>
            <a:lvl9pPr marL="3656875" indent="0">
              <a:buNone/>
              <a:defRPr sz="1900"/>
            </a:lvl9pPr>
          </a:lstStyle>
          <a:p>
            <a:r>
              <a:rPr lang="en-US" dirty="0"/>
              <a:t>Click icon to add picture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13"/>
            <a:ext cx="5486400" cy="603647"/>
          </a:xfrm>
        </p:spPr>
        <p:txBody>
          <a:bodyPr/>
          <a:lstStyle>
            <a:lvl1pPr marL="0" indent="0">
              <a:buNone/>
              <a:defRPr sz="1300"/>
            </a:lvl1pPr>
            <a:lvl2pPr marL="457109" indent="0">
              <a:buNone/>
              <a:defRPr sz="1100"/>
            </a:lvl2pPr>
            <a:lvl3pPr marL="914217" indent="0">
              <a:buNone/>
              <a:defRPr sz="1000"/>
            </a:lvl3pPr>
            <a:lvl4pPr marL="1371329" indent="0">
              <a:buNone/>
              <a:defRPr sz="1000"/>
            </a:lvl4pPr>
            <a:lvl5pPr marL="1828438" indent="0">
              <a:buNone/>
              <a:defRPr sz="1000"/>
            </a:lvl5pPr>
            <a:lvl6pPr marL="2285547" indent="0">
              <a:buNone/>
              <a:defRPr sz="1000"/>
            </a:lvl6pPr>
            <a:lvl7pPr marL="2742655" indent="0">
              <a:buNone/>
              <a:defRPr sz="1000"/>
            </a:lvl7pPr>
            <a:lvl8pPr marL="3199767" indent="0">
              <a:buNone/>
              <a:defRPr sz="1000"/>
            </a:lvl8pPr>
            <a:lvl9pPr marL="3656875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90927382"/>
      </p:ext>
    </p:extLst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 Line Insight with Bullets (presenta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79389" y="492519"/>
            <a:ext cx="8777287" cy="55007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buNone/>
              <a:defRPr sz="2100" b="1">
                <a:solidFill>
                  <a:srgbClr val="E31837"/>
                </a:solidFill>
                <a:latin typeface="Helvetica" pitchFamily="34" charset="0"/>
                <a:cs typeface="Helvetica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77800" y="978573"/>
            <a:ext cx="8769350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4"/>
          <p:cNvSpPr>
            <a:spLocks noGrp="1" noChangeArrowheads="1"/>
          </p:cNvSpPr>
          <p:nvPr>
            <p:ph idx="1"/>
            <p:custDataLst>
              <p:tags r:id="rId1"/>
            </p:custDataLst>
          </p:nvPr>
        </p:nvSpPr>
        <p:spPr bwMode="auto">
          <a:xfrm>
            <a:off x="179388" y="1734741"/>
            <a:ext cx="8767762" cy="31658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285750" indent="-285750">
              <a:spcBef>
                <a:spcPts val="600"/>
              </a:spcBef>
              <a:buFont typeface="Arial" pitchFamily="34" charset="0"/>
              <a:buChar char="•"/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Helvetica" pitchFamily="34" charset="0"/>
                <a:cs typeface="Helvetica" pitchFamily="34" charset="0"/>
              </a:defRPr>
            </a:lvl1pPr>
            <a:lvl2pPr marL="548640" indent="-285750">
              <a:spcBef>
                <a:spcPts val="600"/>
              </a:spcBef>
              <a:buFont typeface="Arial" pitchFamily="34" charset="0"/>
              <a:buChar char="­"/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Helvetica" pitchFamily="34" charset="0"/>
                <a:cs typeface="Helvetica" pitchFamily="34" charset="0"/>
              </a:defRPr>
            </a:lvl2pPr>
            <a:lvl3pPr marL="914400" indent="-285750">
              <a:spcBef>
                <a:spcPts val="600"/>
              </a:spcBef>
              <a:buFont typeface="Courier New" pitchFamily="49" charset="0"/>
              <a:buChar char="o"/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Helvetica" pitchFamily="34" charset="0"/>
                <a:cs typeface="Helvetica" pitchFamily="34" charset="0"/>
              </a:defRPr>
            </a:lvl3pPr>
            <a:lvl4pPr marL="1280160" indent="-285750">
              <a:spcBef>
                <a:spcPts val="600"/>
              </a:spcBef>
              <a:buFont typeface="Arial" pitchFamily="34" charset="0"/>
              <a:buChar char="-"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Helvetica" pitchFamily="34" charset="0"/>
                <a:cs typeface="Helvetica" pitchFamily="34" charset="0"/>
              </a:defRPr>
            </a:lvl4pPr>
          </a:lstStyle>
          <a:p>
            <a:pPr lvl="0"/>
            <a:r>
              <a:rPr lang="en-US" dirty="0"/>
              <a:t>Helvetica18pts</a:t>
            </a:r>
            <a:endParaRPr lang="en-US" noProof="1"/>
          </a:p>
          <a:p>
            <a:pPr lvl="1"/>
            <a:r>
              <a:rPr lang="en-US" dirty="0"/>
              <a:t>Second level16pts</a:t>
            </a:r>
            <a:endParaRPr lang="en-US" noProof="1"/>
          </a:p>
          <a:p>
            <a:pPr lvl="2"/>
            <a:r>
              <a:rPr lang="en-US" noProof="1"/>
              <a:t>Third level</a:t>
            </a:r>
            <a:r>
              <a:rPr lang="en-US" dirty="0"/>
              <a:t>14pts</a:t>
            </a:r>
            <a:endParaRPr lang="en-CA" altLang="zh-CN" dirty="0"/>
          </a:p>
          <a:p>
            <a:pPr lvl="3"/>
            <a:r>
              <a:rPr lang="en-CA" altLang="zh-CN" dirty="0"/>
              <a:t>Fourth level 12pts</a:t>
            </a:r>
            <a:endParaRPr lang="en-CA" noProof="1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18500" y="187790"/>
            <a:ext cx="736600" cy="315468"/>
          </a:xfrm>
          <a:prstGeom prst="rect">
            <a:avLst/>
          </a:prstGeom>
          <a:solidFill>
            <a:srgbClr val="E31837"/>
          </a:solidFill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306B373-F627-4D96-B02C-82FBA53C8544}" type="slidenum">
              <a:rPr lang="en-US" smtClean="0">
                <a:solidFill>
                  <a:prstClr val="white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2828925" y="4900612"/>
            <a:ext cx="3475038" cy="242888"/>
          </a:xfrm>
          <a:prstGeom prst="rect">
            <a:avLst/>
          </a:prstGeom>
        </p:spPr>
        <p:txBody>
          <a:bodyPr tIns="91440" bIns="91440"/>
          <a:lstStyle>
            <a:lvl1pPr>
              <a:defRPr dirty="0">
                <a:latin typeface="Calibri" pitchFamily="34" charset="0"/>
                <a:cs typeface="Calibri" pitchFamily="34" charset="0"/>
              </a:defRPr>
            </a:lvl1pPr>
          </a:lstStyle>
          <a:p>
            <a:pPr algn="ctr" defTabSz="914217">
              <a:defRPr/>
            </a:pPr>
            <a:r>
              <a:rPr lang="en-US" sz="900" b="0">
                <a:solidFill>
                  <a:prstClr val="black">
                    <a:lumMod val="50000"/>
                    <a:lumOff val="50000"/>
                  </a:prstClr>
                </a:solidFill>
              </a:rPr>
              <a:t>Target and Accenture Confidential and Proprietary Information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169665" y="1103578"/>
            <a:ext cx="8777287" cy="55007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buNone/>
              <a:defRPr sz="1600" b="0">
                <a:solidFill>
                  <a:schemeClr val="accent1"/>
                </a:solidFill>
                <a:latin typeface="Helvetica" pitchFamily="34" charset="0"/>
                <a:cs typeface="Helvetica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6452585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60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802660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222655316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157668250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177168372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9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325465235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968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6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4347648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2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6615" indent="0">
              <a:buNone/>
              <a:defRPr sz="2800"/>
            </a:lvl2pPr>
            <a:lvl3pPr marL="913227" indent="0">
              <a:buNone/>
              <a:defRPr sz="2400"/>
            </a:lvl3pPr>
            <a:lvl4pPr marL="1369838" indent="0">
              <a:buNone/>
              <a:defRPr sz="2000"/>
            </a:lvl4pPr>
            <a:lvl5pPr marL="1826451" indent="0">
              <a:buNone/>
              <a:defRPr sz="2000"/>
            </a:lvl5pPr>
            <a:lvl6pPr marL="2283065" indent="0">
              <a:buNone/>
              <a:defRPr sz="2000"/>
            </a:lvl6pPr>
            <a:lvl7pPr marL="2739682" indent="0">
              <a:buNone/>
              <a:defRPr sz="2000"/>
            </a:lvl7pPr>
            <a:lvl8pPr marL="3196292" indent="0">
              <a:buNone/>
              <a:defRPr sz="2000"/>
            </a:lvl8pPr>
            <a:lvl9pPr marL="3652906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9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6615" indent="0">
              <a:buNone/>
              <a:defRPr sz="1200"/>
            </a:lvl2pPr>
            <a:lvl3pPr marL="913227" indent="0">
              <a:buNone/>
              <a:defRPr sz="1000"/>
            </a:lvl3pPr>
            <a:lvl4pPr marL="1369838" indent="0">
              <a:buNone/>
              <a:defRPr sz="900"/>
            </a:lvl4pPr>
            <a:lvl5pPr marL="1826451" indent="0">
              <a:buNone/>
              <a:defRPr sz="900"/>
            </a:lvl5pPr>
            <a:lvl6pPr marL="2283065" indent="0">
              <a:buNone/>
              <a:defRPr sz="900"/>
            </a:lvl6pPr>
            <a:lvl7pPr marL="2739682" indent="0">
              <a:buNone/>
              <a:defRPr sz="900"/>
            </a:lvl7pPr>
            <a:lvl8pPr marL="3196292" indent="0">
              <a:buNone/>
              <a:defRPr sz="900"/>
            </a:lvl8pPr>
            <a:lvl9pPr marL="365290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94306214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51" y="789594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3289403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88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116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61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2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983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64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306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3968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629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29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59716365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65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65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66827882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60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6615" indent="0">
              <a:buNone/>
              <a:defRPr sz="2000" b="1"/>
            </a:lvl2pPr>
            <a:lvl3pPr marL="913227" indent="0">
              <a:buNone/>
              <a:defRPr sz="1800" b="1"/>
            </a:lvl3pPr>
            <a:lvl4pPr marL="1369838" indent="0">
              <a:buNone/>
              <a:defRPr sz="1600" b="1"/>
            </a:lvl4pPr>
            <a:lvl5pPr marL="1826451" indent="0">
              <a:buNone/>
              <a:defRPr sz="1600" b="1"/>
            </a:lvl5pPr>
            <a:lvl6pPr marL="2283065" indent="0">
              <a:buNone/>
              <a:defRPr sz="1600" b="1"/>
            </a:lvl6pPr>
            <a:lvl7pPr marL="2739682" indent="0">
              <a:buNone/>
              <a:defRPr sz="1600" b="1"/>
            </a:lvl7pPr>
            <a:lvl8pPr marL="3196292" indent="0">
              <a:buNone/>
              <a:defRPr sz="1600" b="1"/>
            </a:lvl8pPr>
            <a:lvl9pPr marL="3652906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66" y="802660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6615" indent="0">
              <a:buNone/>
              <a:defRPr sz="2000" b="1"/>
            </a:lvl2pPr>
            <a:lvl3pPr marL="913227" indent="0">
              <a:buNone/>
              <a:defRPr sz="1800" b="1"/>
            </a:lvl3pPr>
            <a:lvl4pPr marL="1369838" indent="0">
              <a:buNone/>
              <a:defRPr sz="1600" b="1"/>
            </a:lvl4pPr>
            <a:lvl5pPr marL="1826451" indent="0">
              <a:buNone/>
              <a:defRPr sz="1600" b="1"/>
            </a:lvl5pPr>
            <a:lvl6pPr marL="2283065" indent="0">
              <a:buNone/>
              <a:defRPr sz="1600" b="1"/>
            </a:lvl6pPr>
            <a:lvl7pPr marL="2739682" indent="0">
              <a:buNone/>
              <a:defRPr sz="1600" b="1"/>
            </a:lvl7pPr>
            <a:lvl8pPr marL="3196292" indent="0">
              <a:buNone/>
              <a:defRPr sz="1600" b="1"/>
            </a:lvl8pPr>
            <a:lvl9pPr marL="3652906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66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40614863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28948238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24924452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2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6615" indent="0">
              <a:buNone/>
              <a:defRPr sz="2800"/>
            </a:lvl2pPr>
            <a:lvl3pPr marL="913227" indent="0">
              <a:buNone/>
              <a:defRPr sz="2400"/>
            </a:lvl3pPr>
            <a:lvl4pPr marL="1369838" indent="0">
              <a:buNone/>
              <a:defRPr sz="2000"/>
            </a:lvl4pPr>
            <a:lvl5pPr marL="1826451" indent="0">
              <a:buNone/>
              <a:defRPr sz="2000"/>
            </a:lvl5pPr>
            <a:lvl6pPr marL="2283065" indent="0">
              <a:buNone/>
              <a:defRPr sz="2000"/>
            </a:lvl6pPr>
            <a:lvl7pPr marL="2739682" indent="0">
              <a:buNone/>
              <a:defRPr sz="2000"/>
            </a:lvl7pPr>
            <a:lvl8pPr marL="3196292" indent="0">
              <a:buNone/>
              <a:defRPr sz="2000"/>
            </a:lvl8pPr>
            <a:lvl9pPr marL="3652906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9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6615" indent="0">
              <a:buNone/>
              <a:defRPr sz="1200"/>
            </a:lvl2pPr>
            <a:lvl3pPr marL="913227" indent="0">
              <a:buNone/>
              <a:defRPr sz="1000"/>
            </a:lvl3pPr>
            <a:lvl4pPr marL="1369838" indent="0">
              <a:buNone/>
              <a:defRPr sz="900"/>
            </a:lvl4pPr>
            <a:lvl5pPr marL="1826451" indent="0">
              <a:buNone/>
              <a:defRPr sz="900"/>
            </a:lvl5pPr>
            <a:lvl6pPr marL="2283065" indent="0">
              <a:buNone/>
              <a:defRPr sz="900"/>
            </a:lvl6pPr>
            <a:lvl7pPr marL="2739682" indent="0">
              <a:buNone/>
              <a:defRPr sz="900"/>
            </a:lvl7pPr>
            <a:lvl8pPr marL="3196292" indent="0">
              <a:buNone/>
              <a:defRPr sz="900"/>
            </a:lvl8pPr>
            <a:lvl9pPr marL="365290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98535850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1491631"/>
            <a:ext cx="6851104" cy="1537878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35696" y="3036355"/>
            <a:ext cx="6851104" cy="56151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59729882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968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26915666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789594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461527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1491631"/>
            <a:ext cx="6851104" cy="1537878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35696" y="3036355"/>
            <a:ext cx="6851104" cy="56151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1708036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116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19634191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19394946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60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802660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07268320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89599237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17776099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9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88764277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918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B5BBBD-1E48-4546-BAD6-4A93BD36607E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12FD69-7138-4005-8F81-283F3E26F70A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128787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B5BBBD-1E48-4546-BAD6-4A93BD36607E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12FD69-7138-4005-8F81-283F3E26F70A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88656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B5BBBD-1E48-4546-BAD6-4A93BD36607E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12FD69-7138-4005-8F81-283F3E26F70A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35580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B5BBBD-1E48-4546-BAD6-4A93BD36607E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12FD69-7138-4005-8F81-283F3E26F70A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38477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012" y="840444"/>
            <a:ext cx="9155013" cy="3678869"/>
          </a:xfrm>
          <a:prstGeom prst="rect">
            <a:avLst/>
          </a:prstGeom>
        </p:spPr>
      </p:pic>
      <p:pic>
        <p:nvPicPr>
          <p:cNvPr id="5" name="Picture 2" descr="F:\InfoCepts_logo\InfoCepts Logo_Blue_PNG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560" y="333769"/>
            <a:ext cx="2304256" cy="163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1491630"/>
            <a:ext cx="6851104" cy="1537878"/>
          </a:xfrm>
        </p:spPr>
        <p:txBody>
          <a:bodyPr anchor="ctr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35696" y="3036355"/>
            <a:ext cx="6851104" cy="561510"/>
          </a:xfrm>
        </p:spPr>
        <p:txBody>
          <a:bodyPr anchor="ctr">
            <a:normAutofit/>
          </a:bodyPr>
          <a:lstStyle>
            <a:lvl1pPr marL="0" indent="0" algn="r">
              <a:buNone/>
              <a:defRPr sz="24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7AFA92AE-28E3-46A0-8A39-E1FE39F97CEA}" type="slidenum">
              <a:rPr lang="en-IN" smtClean="0"/>
              <a:t>‹#›</a:t>
            </a:fld>
            <a:endParaRPr lang="en-IN"/>
          </a:p>
        </p:txBody>
      </p:sp>
      <p:sp>
        <p:nvSpPr>
          <p:cNvPr id="11" name="TextBox 10"/>
          <p:cNvSpPr txBox="1"/>
          <p:nvPr/>
        </p:nvSpPr>
        <p:spPr>
          <a:xfrm>
            <a:off x="152400" y="4761917"/>
            <a:ext cx="2448272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sz="1400" b="1" dirty="0">
                <a:solidFill>
                  <a:prstClr val="black">
                    <a:lumMod val="50000"/>
                    <a:lumOff val="50000"/>
                  </a:prstClr>
                </a:solidFill>
                <a:cs typeface="Calibri" pitchFamily="34" charset="0"/>
              </a:rPr>
              <a:t>www.infocepts.com</a:t>
            </a:r>
          </a:p>
        </p:txBody>
      </p:sp>
    </p:spTree>
    <p:extLst>
      <p:ext uri="{BB962C8B-B14F-4D97-AF65-F5344CB8AC3E}">
        <p14:creationId xmlns:p14="http://schemas.microsoft.com/office/powerpoint/2010/main" val="178157425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B5BBBD-1E48-4546-BAD6-4A93BD36607E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12FD69-7138-4005-8F81-283F3E26F70A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59530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B5BBBD-1E48-4546-BAD6-4A93BD36607E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12FD69-7138-4005-8F81-283F3E26F70A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010711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B5BBBD-1E48-4546-BAD6-4A93BD36607E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12FD69-7138-4005-8F81-283F3E26F70A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3161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887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B5BBBD-1E48-4546-BAD6-4A93BD36607E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12FD69-7138-4005-8F81-283F3E26F70A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23845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602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B5BBBD-1E48-4546-BAD6-4A93BD36607E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12FD69-7138-4005-8F81-283F3E26F70A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966320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B5BBBD-1E48-4546-BAD6-4A93BD36607E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12FD69-7138-4005-8F81-283F3E26F70A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46653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B5BBBD-1E48-4546-BAD6-4A93BD36607E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12FD69-7138-4005-8F81-283F3E26F70A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54468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914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17627974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789579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18320302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8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27096812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15817" y="2733881"/>
            <a:ext cx="5832648" cy="788287"/>
          </a:xfrm>
        </p:spPr>
        <p:txBody>
          <a:bodyPr/>
          <a:lstStyle>
            <a:lvl1pPr>
              <a:defRPr>
                <a:solidFill>
                  <a:srgbClr val="CBEC78"/>
                </a:solidFill>
              </a:defRPr>
            </a:lvl1pPr>
          </a:lstStyle>
          <a:p>
            <a:r>
              <a:rPr lang="en-IN" dirty="0"/>
              <a:t>Your Sub headline will g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816" y="1599782"/>
            <a:ext cx="5832648" cy="1134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</a:t>
            </a:r>
          </a:p>
          <a:p>
            <a:pPr lvl="0"/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252346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420638331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48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802648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365908217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357308936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61201986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9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75454928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708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3AD5B-B557-46F6-9214-8264A2607926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AB88-B23C-4D06-AD6A-85285D6B4FB9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341493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3AD5B-B557-46F6-9214-8264A2607926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AB88-B23C-4D06-AD6A-85285D6B4FB9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84026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40"/>
            <a:ext cx="7772400" cy="1125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3AD5B-B557-46F6-9214-8264A2607926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AB88-B23C-4D06-AD6A-85285D6B4FB9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05023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91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91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3AD5B-B557-46F6-9214-8264A2607926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AB88-B23C-4D06-AD6A-85285D6B4FB9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56161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1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631951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3AD5B-B557-46F6-9214-8264A2607926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AB88-B23C-4D06-AD6A-85285D6B4FB9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6090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35696" y="3036354"/>
            <a:ext cx="6851104" cy="5615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584979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3AD5B-B557-46F6-9214-8264A2607926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AB88-B23C-4D06-AD6A-85285D6B4FB9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73499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3AD5B-B557-46F6-9214-8264A2607926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AB88-B23C-4D06-AD6A-85285D6B4FB9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97751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04883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883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3AD5B-B557-46F6-9214-8264A2607926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AB88-B23C-4D06-AD6A-85285D6B4FB9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4978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1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3AD5B-B557-46F6-9214-8264A2607926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AB88-B23C-4D06-AD6A-85285D6B4FB9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99165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3AD5B-B557-46F6-9214-8264A2607926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AB88-B23C-4D06-AD6A-85285D6B4FB9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405451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7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7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3AD5B-B557-46F6-9214-8264A2607926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9AB88-B23C-4D06-AD6A-85285D6B4FB9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53335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914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34490602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789579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4210962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8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14146511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1692153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6EE15B1-923E-4C9C-A4C2-61FAF7A3CA8E}" type="slidenum">
              <a:rPr lang="en-US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8370618"/>
      </p:ext>
    </p:extLst>
  </p:cSld>
  <p:clrMapOvr>
    <a:masterClrMapping/>
  </p:clrMapOvr>
  <p:hf hdr="0" ftr="0" dt="0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48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802648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11836101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56715491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55119362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9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82715179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914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07045335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1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789579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9958992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8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79426793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2892015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48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802648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96681328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785848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6EE15B1-923E-4C9C-A4C2-61FAF7A3CA8E}" type="slidenum">
              <a:rPr lang="en-US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57833"/>
      </p:ext>
    </p:extLst>
  </p:cSld>
  <p:clrMapOvr>
    <a:masterClrMapping/>
  </p:clrMapOvr>
  <p:hf hdr="0" ftr="0" dt="0"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49553660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99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69210368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1491630"/>
            <a:ext cx="6851104" cy="1537878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35696" y="3036355"/>
            <a:ext cx="6851104" cy="56151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60120034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IN">
                <a:solidFill>
                  <a:prstClr val="white"/>
                </a:solidFill>
              </a:rPr>
              <a:t>&lt;#&gt;</a:t>
            </a:r>
            <a:endParaRPr lang="en-IN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409938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altLang="en-US" dirty="0"/>
              <a:t>Cover Slid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17808359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2033506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75891173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1189312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547437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31540" y="1189312"/>
            <a:ext cx="4068452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/>
          </p:nvPr>
        </p:nvSpPr>
        <p:spPr>
          <a:xfrm>
            <a:off x="4644008" y="1189312"/>
            <a:ext cx="4068452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4586352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68811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4BE0D4E-71CF-4DB1-9DC2-AEED6DA9DE7D}" type="slidenum">
              <a:rPr lang="en-US" smtClean="0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80617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665084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7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362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267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72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6008992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755980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286762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73524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0286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286762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573524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860286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847406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828229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656457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484686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312914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828229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656457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484686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312914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828229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3656457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484686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312914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7847792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521562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043124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564685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607808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086247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521562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3043124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564685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1521562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3043124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564685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7607808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086247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1521562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043124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4564685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607808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6086247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6278207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122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044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7966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8122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73932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7966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971238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772390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03641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203641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1203641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784743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15566"/>
            <a:ext cx="4067992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915566"/>
            <a:ext cx="4067991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44008" y="2643759"/>
            <a:ext cx="40680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2643759"/>
            <a:ext cx="40680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62758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968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6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3622973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03598"/>
            <a:ext cx="4067992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203598"/>
            <a:ext cx="4067991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44008" y="2931790"/>
            <a:ext cx="40680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2931790"/>
            <a:ext cx="40680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366057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56083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80166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04248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32000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556083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80166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804248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56083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80166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04248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317611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56083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80166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04248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32000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556083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80166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804248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56083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80166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04248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25015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431540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323844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215688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579862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579862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579862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8404387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10866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2099969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377373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3767938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9"/>
          </p:nvPr>
        </p:nvSpPr>
        <p:spPr>
          <a:xfrm>
            <a:off x="543880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50"/>
          </p:nvPr>
        </p:nvSpPr>
        <p:spPr>
          <a:xfrm>
            <a:off x="5435907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51"/>
          </p:nvPr>
        </p:nvSpPr>
        <p:spPr>
          <a:xfrm>
            <a:off x="710387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52"/>
          </p:nvPr>
        </p:nvSpPr>
        <p:spPr>
          <a:xfrm>
            <a:off x="7103878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76788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10866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2099969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377373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3767938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9"/>
          </p:nvPr>
        </p:nvSpPr>
        <p:spPr>
          <a:xfrm>
            <a:off x="543880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50"/>
          </p:nvPr>
        </p:nvSpPr>
        <p:spPr>
          <a:xfrm>
            <a:off x="5435907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51"/>
          </p:nvPr>
        </p:nvSpPr>
        <p:spPr>
          <a:xfrm>
            <a:off x="710387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52"/>
          </p:nvPr>
        </p:nvSpPr>
        <p:spPr>
          <a:xfrm>
            <a:off x="7103878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848365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61992" y="1200150"/>
            <a:ext cx="4104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4644713" y="1200150"/>
            <a:ext cx="4104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4635309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148878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442945" y="3292475"/>
            <a:ext cx="4105275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643464" y="3292475"/>
            <a:ext cx="4105275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6"/>
            <a:ext cx="4104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4644008" y="915566"/>
            <a:ext cx="4104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4635309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7975673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42920" y="3292475"/>
            <a:ext cx="2700337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228975" y="3292475"/>
            <a:ext cx="2700338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13450" y="3292475"/>
            <a:ext cx="2700338" cy="431800"/>
          </a:xfrm>
          <a:prstGeom prst="rect">
            <a:avLst/>
          </a:prstGeom>
          <a:solidFill>
            <a:srgbClr val="1D6E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3228919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322022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6014239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6008439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039127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42920" y="3292475"/>
            <a:ext cx="2700337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228975" y="3292475"/>
            <a:ext cx="2700338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013450" y="3292475"/>
            <a:ext cx="2700338" cy="431800"/>
          </a:xfrm>
          <a:prstGeom prst="rect">
            <a:avLst/>
          </a:prstGeom>
          <a:solidFill>
            <a:srgbClr val="1D6E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3228919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322022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6014239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6008439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54913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1491631"/>
            <a:ext cx="6851104" cy="1537878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35696" y="3036355"/>
            <a:ext cx="6851104" cy="56151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170803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51" y="789594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6940668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0"/>
            <a:ext cx="406799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047750"/>
            <a:ext cx="4067991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3924231"/>
            <a:ext cx="4066772" cy="323165"/>
          </a:xfrm>
          <a:solidFill>
            <a:srgbClr val="0065A4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69" y="3924231"/>
            <a:ext cx="4066771" cy="323165"/>
          </a:xfrm>
          <a:solidFill>
            <a:srgbClr val="8DB74A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050261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24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28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832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32000" y="2630576"/>
            <a:ext cx="1831086" cy="507831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582400" y="2630576"/>
            <a:ext cx="1831086" cy="507831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730514" y="2630576"/>
            <a:ext cx="1831086" cy="507831"/>
          </a:xfrm>
          <a:solidFill>
            <a:srgbClr val="46B3C7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880914" y="2630576"/>
            <a:ext cx="1831086" cy="507831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432000" y="326684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24"/>
          </p:nvPr>
        </p:nvSpPr>
        <p:spPr>
          <a:xfrm>
            <a:off x="2582400" y="326684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5"/>
          </p:nvPr>
        </p:nvSpPr>
        <p:spPr>
          <a:xfrm>
            <a:off x="4730514" y="326684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6"/>
          </p:nvPr>
        </p:nvSpPr>
        <p:spPr>
          <a:xfrm>
            <a:off x="6880914" y="326684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330878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823423"/>
            <a:ext cx="2496312" cy="323165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823423"/>
            <a:ext cx="2496312" cy="323165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823423"/>
            <a:ext cx="2496312" cy="323165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13"/>
          <p:cNvSpPr>
            <a:spLocks noGrp="1"/>
          </p:cNvSpPr>
          <p:nvPr>
            <p:ph sz="quarter" idx="18"/>
          </p:nvPr>
        </p:nvSpPr>
        <p:spPr>
          <a:xfrm>
            <a:off x="435540" y="3274955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Font typeface="Arial" panose="020B0604020202020204" pitchFamily="34" charset="0"/>
              <a:buChar char="•"/>
              <a:defRPr sz="1100"/>
            </a:lvl2pPr>
            <a:lvl3pPr marL="257175" indent="-128588">
              <a:defRPr sz="1100"/>
            </a:lvl3pPr>
            <a:lvl4pPr marL="385763" indent="-128588"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274955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/>
            </a:lvl2pPr>
            <a:lvl3pPr marL="257175" indent="-128588">
              <a:buClr>
                <a:schemeClr val="accent4"/>
              </a:buClr>
              <a:defRPr sz="1100"/>
            </a:lvl3pPr>
            <a:lvl4pPr marL="385763" indent="-128588">
              <a:buClr>
                <a:schemeClr val="accent4"/>
              </a:buClr>
              <a:defRPr sz="1100"/>
            </a:lvl4pPr>
            <a:lvl5pPr>
              <a:buClr>
                <a:schemeClr val="accent4"/>
              </a:buCl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0"/>
          </p:nvPr>
        </p:nvSpPr>
        <p:spPr>
          <a:xfrm>
            <a:off x="6215688" y="3274955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/>
            </a:lvl2pPr>
            <a:lvl3pPr marL="257175" indent="-128588">
              <a:buClr>
                <a:schemeClr val="accent3"/>
              </a:buClr>
              <a:defRPr sz="1100"/>
            </a:lvl3pPr>
            <a:lvl4pPr marL="385763" indent="-128588">
              <a:buClr>
                <a:schemeClr val="accent3"/>
              </a:buClr>
              <a:defRPr sz="1100"/>
            </a:lvl4pPr>
            <a:lvl5pPr>
              <a:buClr>
                <a:schemeClr val="accent3"/>
              </a:buCl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7871369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555294"/>
            <a:ext cx="2496312" cy="323165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555294"/>
            <a:ext cx="2496312" cy="323165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555294"/>
            <a:ext cx="2496312" cy="323165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8080195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67596"/>
            <a:ext cx="406799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167596"/>
            <a:ext cx="4067991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2827538"/>
            <a:ext cx="4066772" cy="323165"/>
          </a:xfrm>
          <a:solidFill>
            <a:srgbClr val="0065A4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2827538"/>
            <a:ext cx="4066770" cy="323165"/>
          </a:xfrm>
          <a:solidFill>
            <a:srgbClr val="00B0F0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432076" y="3279073"/>
            <a:ext cx="4066772" cy="1277300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13"/>
          <p:cNvSpPr>
            <a:spLocks noGrp="1"/>
          </p:cNvSpPr>
          <p:nvPr>
            <p:ph sz="quarter" idx="19"/>
          </p:nvPr>
        </p:nvSpPr>
        <p:spPr>
          <a:xfrm>
            <a:off x="4645169" y="3279073"/>
            <a:ext cx="4066771" cy="1277300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360361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1" name="Content Placeholder 13"/>
          <p:cNvSpPr>
            <a:spLocks noGrp="1"/>
          </p:cNvSpPr>
          <p:nvPr>
            <p:ph sz="quarter" idx="18"/>
          </p:nvPr>
        </p:nvSpPr>
        <p:spPr>
          <a:xfrm>
            <a:off x="1228452" y="1304378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612783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3" name="Content Placeholder 13"/>
          <p:cNvSpPr>
            <a:spLocks noGrp="1"/>
          </p:cNvSpPr>
          <p:nvPr>
            <p:ph sz="quarter" idx="20"/>
          </p:nvPr>
        </p:nvSpPr>
        <p:spPr>
          <a:xfrm>
            <a:off x="3409680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4794025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5" name="Content Placeholder 13"/>
          <p:cNvSpPr>
            <a:spLocks noGrp="1"/>
          </p:cNvSpPr>
          <p:nvPr>
            <p:ph sz="quarter" idx="22"/>
          </p:nvPr>
        </p:nvSpPr>
        <p:spPr>
          <a:xfrm>
            <a:off x="5590946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75267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7" name="Content Placeholder 13"/>
          <p:cNvSpPr>
            <a:spLocks noGrp="1"/>
          </p:cNvSpPr>
          <p:nvPr>
            <p:ph sz="quarter" idx="24"/>
          </p:nvPr>
        </p:nvSpPr>
        <p:spPr>
          <a:xfrm>
            <a:off x="7772169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9" name="Content Placeholder 13"/>
          <p:cNvSpPr>
            <a:spLocks noGrp="1"/>
          </p:cNvSpPr>
          <p:nvPr>
            <p:ph sz="quarter" idx="26"/>
          </p:nvPr>
        </p:nvSpPr>
        <p:spPr>
          <a:xfrm>
            <a:off x="1228452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612783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1" name="Content Placeholder 13"/>
          <p:cNvSpPr>
            <a:spLocks noGrp="1"/>
          </p:cNvSpPr>
          <p:nvPr>
            <p:ph sz="quarter" idx="28"/>
          </p:nvPr>
        </p:nvSpPr>
        <p:spPr>
          <a:xfrm>
            <a:off x="3409680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2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94025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3" name="Content Placeholder 13"/>
          <p:cNvSpPr>
            <a:spLocks noGrp="1"/>
          </p:cNvSpPr>
          <p:nvPr>
            <p:ph sz="quarter" idx="30"/>
          </p:nvPr>
        </p:nvSpPr>
        <p:spPr>
          <a:xfrm>
            <a:off x="5590946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975267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5" name="Content Placeholder 13"/>
          <p:cNvSpPr>
            <a:spLocks noGrp="1"/>
          </p:cNvSpPr>
          <p:nvPr>
            <p:ph sz="quarter" idx="32"/>
          </p:nvPr>
        </p:nvSpPr>
        <p:spPr>
          <a:xfrm>
            <a:off x="7772169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6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7" name="Content Placeholder 13"/>
          <p:cNvSpPr>
            <a:spLocks noGrp="1"/>
          </p:cNvSpPr>
          <p:nvPr>
            <p:ph sz="quarter" idx="34"/>
          </p:nvPr>
        </p:nvSpPr>
        <p:spPr>
          <a:xfrm>
            <a:off x="1228452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8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2612783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9" name="Content Placeholder 13"/>
          <p:cNvSpPr>
            <a:spLocks noGrp="1"/>
          </p:cNvSpPr>
          <p:nvPr>
            <p:ph sz="quarter" idx="36"/>
          </p:nvPr>
        </p:nvSpPr>
        <p:spPr>
          <a:xfrm>
            <a:off x="3409680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0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794025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1" name="Content Placeholder 13"/>
          <p:cNvSpPr>
            <a:spLocks noGrp="1"/>
          </p:cNvSpPr>
          <p:nvPr>
            <p:ph sz="quarter" idx="38"/>
          </p:nvPr>
        </p:nvSpPr>
        <p:spPr>
          <a:xfrm>
            <a:off x="5590946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975267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3" name="Content Placeholder 13"/>
          <p:cNvSpPr>
            <a:spLocks noGrp="1"/>
          </p:cNvSpPr>
          <p:nvPr>
            <p:ph sz="quarter" idx="40"/>
          </p:nvPr>
        </p:nvSpPr>
        <p:spPr>
          <a:xfrm>
            <a:off x="7772169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41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9981198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487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3" name="Content Placeholder 13"/>
          <p:cNvSpPr>
            <a:spLocks noGrp="1"/>
          </p:cNvSpPr>
          <p:nvPr>
            <p:ph sz="quarter" idx="18"/>
          </p:nvPr>
        </p:nvSpPr>
        <p:spPr>
          <a:xfrm>
            <a:off x="1228437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0487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5" name="Content Placeholder 13"/>
          <p:cNvSpPr>
            <a:spLocks noGrp="1"/>
          </p:cNvSpPr>
          <p:nvPr>
            <p:ph sz="quarter" idx="20"/>
          </p:nvPr>
        </p:nvSpPr>
        <p:spPr>
          <a:xfrm>
            <a:off x="4069975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0487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22"/>
          </p:nvPr>
        </p:nvSpPr>
        <p:spPr>
          <a:xfrm>
            <a:off x="6911512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4018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9" name="Content Placeholder 13"/>
          <p:cNvSpPr>
            <a:spLocks noGrp="1"/>
          </p:cNvSpPr>
          <p:nvPr>
            <p:ph sz="quarter" idx="26"/>
          </p:nvPr>
        </p:nvSpPr>
        <p:spPr>
          <a:xfrm>
            <a:off x="1228437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44018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7" name="Content Placeholder 13"/>
          <p:cNvSpPr>
            <a:spLocks noGrp="1"/>
          </p:cNvSpPr>
          <p:nvPr>
            <p:ph sz="quarter" idx="28"/>
          </p:nvPr>
        </p:nvSpPr>
        <p:spPr>
          <a:xfrm>
            <a:off x="4069975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44018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0" name="Content Placeholder 13"/>
          <p:cNvSpPr>
            <a:spLocks noGrp="1"/>
          </p:cNvSpPr>
          <p:nvPr>
            <p:ph sz="quarter" idx="30"/>
          </p:nvPr>
        </p:nvSpPr>
        <p:spPr>
          <a:xfrm>
            <a:off x="6911512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7550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2" name="Content Placeholder 13"/>
          <p:cNvSpPr>
            <a:spLocks noGrp="1"/>
          </p:cNvSpPr>
          <p:nvPr>
            <p:ph sz="quarter" idx="34"/>
          </p:nvPr>
        </p:nvSpPr>
        <p:spPr>
          <a:xfrm>
            <a:off x="1228437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70244" y="357550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4" name="Content Placeholder 13"/>
          <p:cNvSpPr>
            <a:spLocks noGrp="1"/>
          </p:cNvSpPr>
          <p:nvPr>
            <p:ph sz="quarter" idx="36"/>
          </p:nvPr>
        </p:nvSpPr>
        <p:spPr>
          <a:xfrm>
            <a:off x="4069975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108947" y="3575506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6" name="Content Placeholder 13"/>
          <p:cNvSpPr>
            <a:spLocks noGrp="1"/>
          </p:cNvSpPr>
          <p:nvPr>
            <p:ph sz="quarter" idx="38"/>
          </p:nvPr>
        </p:nvSpPr>
        <p:spPr>
          <a:xfrm>
            <a:off x="6911512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9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6841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228437" y="1302230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4069975" y="1302230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6911512" y="1302230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/>
          </p:nvPr>
        </p:nvSpPr>
        <p:spPr>
          <a:xfrm>
            <a:off x="1228437" y="2987321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9872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/>
          </p:nvPr>
        </p:nvSpPr>
        <p:spPr>
          <a:xfrm>
            <a:off x="4069975" y="2987321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98727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/>
          </p:nvPr>
        </p:nvSpPr>
        <p:spPr>
          <a:xfrm>
            <a:off x="6911512" y="2987321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1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028438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721538" y="1302230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709852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6002681" y="1302230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78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/>
          </p:nvPr>
        </p:nvSpPr>
        <p:spPr>
          <a:xfrm>
            <a:off x="1721538" y="2987321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709852" y="2987278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/>
          </p:nvPr>
        </p:nvSpPr>
        <p:spPr>
          <a:xfrm>
            <a:off x="6002681" y="2987321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9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7537913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93773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5152" y="1193773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8"/>
          </p:nvPr>
        </p:nvSpPr>
        <p:spPr>
          <a:xfrm>
            <a:off x="430932" y="3674371"/>
            <a:ext cx="4067916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3674371"/>
            <a:ext cx="4065628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2000" y="2441762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45152" y="2441762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83945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88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137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61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2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983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64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306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3968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629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29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56528203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79507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431557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918210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3270332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756913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6108972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982755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39452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2642365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4745243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/>
          </p:nvPr>
        </p:nvSpPr>
        <p:spPr>
          <a:xfrm>
            <a:off x="6848151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827584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030014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7131229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928799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62530394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5032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1540" y="210015"/>
            <a:ext cx="828092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3870686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6441562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205836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278801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bg>
      <p:bgPr>
        <a:gradFill>
          <a:gsLst>
            <a:gs pos="0">
              <a:schemeClr val="accent1"/>
            </a:gs>
            <a:gs pos="100000">
              <a:schemeClr val="accent5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8"/>
            <a:ext cx="9144000" cy="5143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IN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215390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41557"/>
            <a:ext cx="8229600" cy="648073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IN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51" y="789579"/>
            <a:ext cx="8207375" cy="3564731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97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50" y="4874525"/>
            <a:ext cx="360040" cy="193725"/>
          </a:xfrm>
          <a:prstGeom prst="rect">
            <a:avLst/>
          </a:prstGeom>
        </p:spPr>
        <p:txBody>
          <a:bodyPr anchor="ctr"/>
          <a:lstStyle>
            <a:lvl1pPr algn="ctr">
              <a:defRPr sz="600" b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91D3E52-D919-4FF0-83A0-EC3008C81D47}" type="slidenum">
              <a:rPr lang="en-IN" smtClean="0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385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64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7640077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65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65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52400469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789579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35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9307252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8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08788216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3"/>
            <a:ext cx="4038600" cy="3394472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3"/>
            <a:ext cx="4038600" cy="3394472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631423105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48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15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0"/>
            <a:ext cx="4040188" cy="2963466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802648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15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282470"/>
            <a:ext cx="4041775" cy="2963466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04108134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08532697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10965255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1500" b="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Click icon to add picture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48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136308218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24" y="1275606"/>
            <a:ext cx="5987008" cy="1372344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4000" b="0">
                <a:latin typeface="+mj-lt"/>
              </a:defRPr>
            </a:lvl1pPr>
          </a:lstStyle>
          <a:p>
            <a:r>
              <a:rPr lang="en-US" dirty="0"/>
              <a:t>Your headline will go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60024" y="2647950"/>
            <a:ext cx="6019800" cy="1752600"/>
          </a:xfrm>
        </p:spPr>
        <p:txBody>
          <a:bodyPr/>
          <a:lstStyle>
            <a:lvl1pPr>
              <a:defRPr sz="2000" baseline="0">
                <a:latin typeface="+mj-lt"/>
              </a:defRPr>
            </a:lvl1pPr>
          </a:lstStyle>
          <a:p>
            <a:pPr lvl="0"/>
            <a:r>
              <a:rPr lang="en-US" dirty="0"/>
              <a:t>Your subtitle will go here</a:t>
            </a:r>
          </a:p>
        </p:txBody>
      </p:sp>
    </p:spTree>
    <p:extLst>
      <p:ext uri="{BB962C8B-B14F-4D97-AF65-F5344CB8AC3E}">
        <p14:creationId xmlns:p14="http://schemas.microsoft.com/office/powerpoint/2010/main" val="327136251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8902" y="1203599"/>
            <a:ext cx="4851170" cy="316835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000" b="0" dirty="0" smtClean="0">
                <a:solidFill>
                  <a:schemeClr val="bg1"/>
                </a:solidFill>
                <a:latin typeface="+mj-lt"/>
              </a:defRPr>
            </a:lvl1pPr>
            <a:lvl2pPr algn="l">
              <a:defRPr sz="1800">
                <a:solidFill>
                  <a:schemeClr val="bg1"/>
                </a:solidFill>
              </a:defRPr>
            </a:lvl2pPr>
            <a:lvl3pPr algn="l">
              <a:defRPr sz="1800">
                <a:solidFill>
                  <a:schemeClr val="bg1"/>
                </a:solidFill>
              </a:defRPr>
            </a:lvl3pPr>
            <a:lvl4pPr algn="l">
              <a:defRPr sz="1800">
                <a:solidFill>
                  <a:schemeClr val="bg1"/>
                </a:solidFill>
              </a:defRPr>
            </a:lvl4pPr>
            <a:lvl5pPr algn="l"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Your headline will go here</a:t>
            </a:r>
          </a:p>
        </p:txBody>
      </p:sp>
    </p:spTree>
    <p:extLst>
      <p:ext uri="{BB962C8B-B14F-4D97-AF65-F5344CB8AC3E}">
        <p14:creationId xmlns:p14="http://schemas.microsoft.com/office/powerpoint/2010/main" val="1338844101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8902" y="1203599"/>
            <a:ext cx="4851170" cy="3168352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lang="en-US" sz="4000" b="0" dirty="0" smtClean="0">
                <a:solidFill>
                  <a:schemeClr val="bg1"/>
                </a:solidFill>
                <a:latin typeface="+mj-lt"/>
              </a:defRPr>
            </a:lvl1pPr>
            <a:lvl2pPr algn="l">
              <a:defRPr sz="1800">
                <a:solidFill>
                  <a:schemeClr val="bg1"/>
                </a:solidFill>
              </a:defRPr>
            </a:lvl2pPr>
            <a:lvl3pPr algn="l">
              <a:defRPr sz="1800">
                <a:solidFill>
                  <a:schemeClr val="bg1"/>
                </a:solidFill>
              </a:defRPr>
            </a:lvl3pPr>
            <a:lvl4pPr algn="l">
              <a:defRPr sz="1800">
                <a:solidFill>
                  <a:schemeClr val="bg1"/>
                </a:solidFill>
              </a:defRPr>
            </a:lvl4pPr>
            <a:lvl5pPr algn="l">
              <a:defRPr sz="1800">
                <a:solidFill>
                  <a:schemeClr val="bg1"/>
                </a:solidFill>
              </a:defRPr>
            </a:lvl5pPr>
          </a:lstStyle>
          <a:p>
            <a:pPr marL="0" lv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dirty="0"/>
              <a:t>Your headline will go here</a:t>
            </a:r>
          </a:p>
        </p:txBody>
      </p:sp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342" t="3000" r="5789" b="16322"/>
          <a:stretch>
            <a:fillRect/>
          </a:stretch>
        </p:blipFill>
        <p:spPr bwMode="auto">
          <a:xfrm>
            <a:off x="4859426" y="-55562"/>
            <a:ext cx="8015287" cy="519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F:\InfoCepts_logo\InfoCepts Logo_Blue_PNG.png"/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409306"/>
            <a:ext cx="2304256" cy="217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74040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60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6615" indent="0">
              <a:buNone/>
              <a:defRPr sz="2000" b="1"/>
            </a:lvl2pPr>
            <a:lvl3pPr marL="913227" indent="0">
              <a:buNone/>
              <a:defRPr sz="1800" b="1"/>
            </a:lvl3pPr>
            <a:lvl4pPr marL="1369838" indent="0">
              <a:buNone/>
              <a:defRPr sz="1600" b="1"/>
            </a:lvl4pPr>
            <a:lvl5pPr marL="1826451" indent="0">
              <a:buNone/>
              <a:defRPr sz="1600" b="1"/>
            </a:lvl5pPr>
            <a:lvl6pPr marL="2283065" indent="0">
              <a:buNone/>
              <a:defRPr sz="1600" b="1"/>
            </a:lvl6pPr>
            <a:lvl7pPr marL="2739682" indent="0">
              <a:buNone/>
              <a:defRPr sz="1600" b="1"/>
            </a:lvl7pPr>
            <a:lvl8pPr marL="3196292" indent="0">
              <a:buNone/>
              <a:defRPr sz="1600" b="1"/>
            </a:lvl8pPr>
            <a:lvl9pPr marL="365290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66" y="802660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6615" indent="0">
              <a:buNone/>
              <a:defRPr sz="2000" b="1"/>
            </a:lvl2pPr>
            <a:lvl3pPr marL="913227" indent="0">
              <a:buNone/>
              <a:defRPr sz="1800" b="1"/>
            </a:lvl3pPr>
            <a:lvl4pPr marL="1369838" indent="0">
              <a:buNone/>
              <a:defRPr sz="1600" b="1"/>
            </a:lvl4pPr>
            <a:lvl5pPr marL="1826451" indent="0">
              <a:buNone/>
              <a:defRPr sz="1600" b="1"/>
            </a:lvl5pPr>
            <a:lvl6pPr marL="2283065" indent="0">
              <a:buNone/>
              <a:defRPr sz="1600" b="1"/>
            </a:lvl6pPr>
            <a:lvl7pPr marL="2739682" indent="0">
              <a:buNone/>
              <a:defRPr sz="1600" b="1"/>
            </a:lvl7pPr>
            <a:lvl8pPr marL="3196292" indent="0">
              <a:buNone/>
              <a:defRPr sz="1600" b="1"/>
            </a:lvl8pPr>
            <a:lvl9pPr marL="365290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66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795201098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F:\InfoCepts_logo\InfoCepts Logo_Blue_PNG.png"/>
          <p:cNvPicPr>
            <a:picLocks noChangeAspect="1" noChangeArrowheads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475" y="2462257"/>
            <a:ext cx="2304256" cy="217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587673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206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3065348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51" y="789579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67490569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9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41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0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29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3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48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5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6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7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04659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6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6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373985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802651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101" indent="0">
              <a:buNone/>
              <a:defRPr sz="2000" b="1"/>
            </a:lvl2pPr>
            <a:lvl3pPr marL="914193" indent="0">
              <a:buNone/>
              <a:defRPr sz="1800" b="1"/>
            </a:lvl3pPr>
            <a:lvl4pPr marL="1371294" indent="0">
              <a:buNone/>
              <a:defRPr sz="1600" b="1"/>
            </a:lvl4pPr>
            <a:lvl5pPr marL="1828386" indent="0">
              <a:buNone/>
              <a:defRPr sz="1600" b="1"/>
            </a:lvl5pPr>
            <a:lvl6pPr marL="2285487" indent="0">
              <a:buNone/>
              <a:defRPr sz="1600" b="1"/>
            </a:lvl6pPr>
            <a:lvl7pPr marL="2742579" indent="0">
              <a:buNone/>
              <a:defRPr sz="1600" b="1"/>
            </a:lvl7pPr>
            <a:lvl8pPr marL="3199680" indent="0">
              <a:buNone/>
              <a:defRPr sz="1600" b="1"/>
            </a:lvl8pPr>
            <a:lvl9pPr marL="365678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92" y="802651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101" indent="0">
              <a:buNone/>
              <a:defRPr sz="2000" b="1"/>
            </a:lvl2pPr>
            <a:lvl3pPr marL="914193" indent="0">
              <a:buNone/>
              <a:defRPr sz="1800" b="1"/>
            </a:lvl3pPr>
            <a:lvl4pPr marL="1371294" indent="0">
              <a:buNone/>
              <a:defRPr sz="1600" b="1"/>
            </a:lvl4pPr>
            <a:lvl5pPr marL="1828386" indent="0">
              <a:buNone/>
              <a:defRPr sz="1600" b="1"/>
            </a:lvl5pPr>
            <a:lvl6pPr marL="2285487" indent="0">
              <a:buNone/>
              <a:defRPr sz="1600" b="1"/>
            </a:lvl6pPr>
            <a:lvl7pPr marL="2742579" indent="0">
              <a:buNone/>
              <a:defRPr sz="1600" b="1"/>
            </a:lvl7pPr>
            <a:lvl8pPr marL="3199680" indent="0">
              <a:buNone/>
              <a:defRPr sz="1600" b="1"/>
            </a:lvl8pPr>
            <a:lvl9pPr marL="365678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92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7784735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4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50518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73784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4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101" indent="0">
              <a:buNone/>
              <a:defRPr sz="2800"/>
            </a:lvl2pPr>
            <a:lvl3pPr marL="914193" indent="0">
              <a:buNone/>
              <a:defRPr sz="2400"/>
            </a:lvl3pPr>
            <a:lvl4pPr marL="1371294" indent="0">
              <a:buNone/>
              <a:defRPr sz="2000"/>
            </a:lvl4pPr>
            <a:lvl5pPr marL="1828386" indent="0">
              <a:buNone/>
              <a:defRPr sz="2000"/>
            </a:lvl5pPr>
            <a:lvl6pPr marL="2285487" indent="0">
              <a:buNone/>
              <a:defRPr sz="2000"/>
            </a:lvl6pPr>
            <a:lvl7pPr marL="2742579" indent="0">
              <a:buNone/>
              <a:defRPr sz="2000"/>
            </a:lvl7pPr>
            <a:lvl8pPr marL="3199680" indent="0">
              <a:buNone/>
              <a:defRPr sz="2000"/>
            </a:lvl8pPr>
            <a:lvl9pPr marL="3656780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890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101" indent="0">
              <a:buNone/>
              <a:defRPr sz="1200"/>
            </a:lvl2pPr>
            <a:lvl3pPr marL="914193" indent="0">
              <a:buNone/>
              <a:defRPr sz="1000"/>
            </a:lvl3pPr>
            <a:lvl4pPr marL="1371294" indent="0">
              <a:buNone/>
              <a:defRPr sz="900"/>
            </a:lvl4pPr>
            <a:lvl5pPr marL="1828386" indent="0">
              <a:buNone/>
              <a:defRPr sz="900"/>
            </a:lvl5pPr>
            <a:lvl6pPr marL="2285487" indent="0">
              <a:buNone/>
              <a:defRPr sz="900"/>
            </a:lvl6pPr>
            <a:lvl7pPr marL="2742579" indent="0">
              <a:buNone/>
              <a:defRPr sz="900"/>
            </a:lvl7pPr>
            <a:lvl8pPr marL="3199680" indent="0">
              <a:buNone/>
              <a:defRPr sz="900"/>
            </a:lvl8pPr>
            <a:lvl9pPr marL="365678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602802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34"/>
          <p:cNvSpPr>
            <a:spLocks noGrp="1" noChangeArrowheads="1"/>
          </p:cNvSpPr>
          <p:nvPr>
            <p:ph type="title"/>
          </p:nvPr>
        </p:nvSpPr>
        <p:spPr bwMode="auto">
          <a:xfrm>
            <a:off x="241300" y="159547"/>
            <a:ext cx="8714232" cy="411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11" rIns="91422" bIns="45711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013620"/>
      </p:ext>
    </p:extLst>
  </p:cSld>
  <p:clrMapOvr>
    <a:masterClrMapping/>
  </p:clrMapOvr>
  <p:transition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899698563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04790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95" y="204895"/>
            <a:ext cx="5111751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101" indent="0">
              <a:buNone/>
              <a:defRPr sz="1200"/>
            </a:lvl2pPr>
            <a:lvl3pPr marL="914193" indent="0">
              <a:buNone/>
              <a:defRPr sz="1000"/>
            </a:lvl3pPr>
            <a:lvl4pPr marL="1371294" indent="0">
              <a:buNone/>
              <a:defRPr sz="900"/>
            </a:lvl4pPr>
            <a:lvl5pPr marL="1828386" indent="0">
              <a:buNone/>
              <a:defRPr sz="900"/>
            </a:lvl5pPr>
            <a:lvl6pPr marL="2285487" indent="0">
              <a:buNone/>
              <a:defRPr sz="900"/>
            </a:lvl6pPr>
            <a:lvl7pPr marL="2742579" indent="0">
              <a:buNone/>
              <a:defRPr sz="900"/>
            </a:lvl7pPr>
            <a:lvl8pPr marL="3199680" indent="0">
              <a:buNone/>
              <a:defRPr sz="900"/>
            </a:lvl8pPr>
            <a:lvl9pPr marL="365678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093910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573014864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 lIns="91369" tIns="45684" rIns="91369" bIns="45684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  <a:endParaRPr lang="en-IN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897590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295781704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gradFill>
          <a:gsLst>
            <a:gs pos="0">
              <a:schemeClr val="accent1"/>
            </a:gs>
            <a:gs pos="100000">
              <a:schemeClr val="accent5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8"/>
            <a:ext cx="9144000" cy="5143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914171" fontAlgn="auto">
              <a:spcBef>
                <a:spcPts val="0"/>
              </a:spcBef>
              <a:spcAft>
                <a:spcPts val="0"/>
              </a:spcAft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52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4324162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2371149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3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51" y="789579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8207776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68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50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703075450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50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915570"/>
            <a:ext cx="8207375" cy="343871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08284180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8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50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700885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16066016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50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516099084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3" y="802648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3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802648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50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235731245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61486199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50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35646375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52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50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91396342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7" y="1491630"/>
            <a:ext cx="6851104" cy="1537878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35697" y="3036355"/>
            <a:ext cx="6851104" cy="56151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50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32807606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IN">
                <a:solidFill>
                  <a:prstClr val="white"/>
                </a:solidFill>
              </a:rPr>
              <a:t>&lt;#&gt;</a:t>
            </a:r>
            <a:endParaRPr lang="en-IN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67971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77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631650443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51" y="789579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35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92214707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82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41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1764010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2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6615" indent="0">
              <a:buNone/>
              <a:defRPr sz="2800"/>
            </a:lvl2pPr>
            <a:lvl3pPr marL="913227" indent="0">
              <a:buNone/>
              <a:defRPr sz="2400"/>
            </a:lvl3pPr>
            <a:lvl4pPr marL="1369838" indent="0">
              <a:buNone/>
              <a:defRPr sz="2000"/>
            </a:lvl4pPr>
            <a:lvl5pPr marL="1826451" indent="0">
              <a:buNone/>
              <a:defRPr sz="2000"/>
            </a:lvl5pPr>
            <a:lvl6pPr marL="2283065" indent="0">
              <a:buNone/>
              <a:defRPr sz="2000"/>
            </a:lvl6pPr>
            <a:lvl7pPr marL="2739682" indent="0">
              <a:buNone/>
              <a:defRPr sz="2000"/>
            </a:lvl7pPr>
            <a:lvl8pPr marL="3196292" indent="0">
              <a:buNone/>
              <a:defRPr sz="2000"/>
            </a:lvl8pPr>
            <a:lvl9pPr marL="3652906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9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6615" indent="0">
              <a:buNone/>
              <a:defRPr sz="1200"/>
            </a:lvl2pPr>
            <a:lvl3pPr marL="913227" indent="0">
              <a:buNone/>
              <a:defRPr sz="1000"/>
            </a:lvl3pPr>
            <a:lvl4pPr marL="1369838" indent="0">
              <a:buNone/>
              <a:defRPr sz="900"/>
            </a:lvl4pPr>
            <a:lvl5pPr marL="1826451" indent="0">
              <a:buNone/>
              <a:defRPr sz="900"/>
            </a:lvl5pPr>
            <a:lvl6pPr marL="2283065" indent="0">
              <a:buNone/>
              <a:defRPr sz="900"/>
            </a:lvl6pPr>
            <a:lvl7pPr marL="2739682" indent="0">
              <a:buNone/>
              <a:defRPr sz="900"/>
            </a:lvl7pPr>
            <a:lvl8pPr marL="3196292" indent="0">
              <a:buNone/>
              <a:defRPr sz="900"/>
            </a:lvl8pPr>
            <a:lvl9pPr marL="365290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773005911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9"/>
            <a:ext cx="4038600" cy="3394472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9"/>
            <a:ext cx="4038600" cy="3394472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24439824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3" y="802654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15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3" y="1282470"/>
            <a:ext cx="4040188" cy="2963466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66" y="802654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15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66" y="1282470"/>
            <a:ext cx="4041775" cy="2963466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672391072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971439495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54192074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7"/>
            <a:ext cx="5486400" cy="425054"/>
          </a:xfrm>
        </p:spPr>
        <p:txBody>
          <a:bodyPr anchor="t"/>
          <a:lstStyle>
            <a:lvl1pPr algn="l">
              <a:defRPr sz="15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61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180754001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997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1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3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4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6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07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49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1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2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prstClr val="white"/>
                </a:solidFill>
                <a:latin typeface="Arial" charset="0"/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3757855830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1"/>
            <a:ext cx="8229600" cy="6480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84" y="789594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35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prstClr val="white"/>
                </a:solidFill>
                <a:latin typeface="Arial" charset="0"/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308707559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6" y="3305188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6" y="2180060"/>
            <a:ext cx="7772400" cy="1125141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1598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319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4801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6639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0799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4959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39119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3279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prstClr val="white"/>
                </a:solidFill>
                <a:latin typeface="Arial" charset="0"/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830024265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74"/>
            <a:ext cx="4038600" cy="3394472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74"/>
            <a:ext cx="4038600" cy="3394472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prstClr val="white"/>
                </a:solidFill>
                <a:latin typeface="Arial" charset="0"/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3646982541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9" y="802660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1500" b="0"/>
            </a:lvl1pPr>
            <a:lvl2pPr marL="341598" indent="0">
              <a:buNone/>
              <a:defRPr sz="1500" b="1"/>
            </a:lvl2pPr>
            <a:lvl3pPr marL="683199" indent="0">
              <a:buNone/>
              <a:defRPr sz="1350" b="1"/>
            </a:lvl3pPr>
            <a:lvl4pPr marL="1024801" indent="0">
              <a:buNone/>
              <a:defRPr sz="1200" b="1"/>
            </a:lvl4pPr>
            <a:lvl5pPr marL="1366397" indent="0">
              <a:buNone/>
              <a:defRPr sz="1200" b="1"/>
            </a:lvl5pPr>
            <a:lvl6pPr marL="1707995" indent="0">
              <a:buNone/>
              <a:defRPr sz="1200" b="1"/>
            </a:lvl6pPr>
            <a:lvl7pPr marL="2049599" indent="0">
              <a:buNone/>
              <a:defRPr sz="1200" b="1"/>
            </a:lvl7pPr>
            <a:lvl8pPr marL="2391194" indent="0">
              <a:buNone/>
              <a:defRPr sz="1200" b="1"/>
            </a:lvl8pPr>
            <a:lvl9pPr marL="273279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9" y="1282472"/>
            <a:ext cx="4040188" cy="2963466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66" y="802660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1500" b="0"/>
            </a:lvl1pPr>
            <a:lvl2pPr marL="341598" indent="0">
              <a:buNone/>
              <a:defRPr sz="1500" b="1"/>
            </a:lvl2pPr>
            <a:lvl3pPr marL="683199" indent="0">
              <a:buNone/>
              <a:defRPr sz="1350" b="1"/>
            </a:lvl3pPr>
            <a:lvl4pPr marL="1024801" indent="0">
              <a:buNone/>
              <a:defRPr sz="1200" b="1"/>
            </a:lvl4pPr>
            <a:lvl5pPr marL="1366397" indent="0">
              <a:buNone/>
              <a:defRPr sz="1200" b="1"/>
            </a:lvl5pPr>
            <a:lvl6pPr marL="1707995" indent="0">
              <a:buNone/>
              <a:defRPr sz="1200" b="1"/>
            </a:lvl6pPr>
            <a:lvl7pPr marL="2049599" indent="0">
              <a:buNone/>
              <a:defRPr sz="1200" b="1"/>
            </a:lvl7pPr>
            <a:lvl8pPr marL="2391194" indent="0">
              <a:buNone/>
              <a:defRPr sz="1200" b="1"/>
            </a:lvl8pPr>
            <a:lvl9pPr marL="273279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66" y="1282472"/>
            <a:ext cx="4041775" cy="2963466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prstClr val="white"/>
                </a:solidFill>
                <a:latin typeface="Arial" charset="0"/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15365696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968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6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89466122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prstClr val="white"/>
                </a:solidFill>
                <a:latin typeface="Arial" charset="0"/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3756850618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prstClr val="white"/>
                </a:solidFill>
                <a:latin typeface="Arial" charset="0"/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380744992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69"/>
            <a:ext cx="5486400" cy="425054"/>
          </a:xfrm>
        </p:spPr>
        <p:txBody>
          <a:bodyPr anchor="t"/>
          <a:lstStyle>
            <a:lvl1pPr algn="l">
              <a:defRPr sz="1500" b="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1598" indent="0">
              <a:buNone/>
              <a:defRPr sz="2100"/>
            </a:lvl2pPr>
            <a:lvl3pPr marL="683199" indent="0">
              <a:buNone/>
              <a:defRPr sz="1800"/>
            </a:lvl3pPr>
            <a:lvl4pPr marL="1024801" indent="0">
              <a:buNone/>
              <a:defRPr sz="1500"/>
            </a:lvl4pPr>
            <a:lvl5pPr marL="1366397" indent="0">
              <a:buNone/>
              <a:defRPr sz="1500"/>
            </a:lvl5pPr>
            <a:lvl6pPr marL="1707995" indent="0">
              <a:buNone/>
              <a:defRPr sz="1500"/>
            </a:lvl6pPr>
            <a:lvl7pPr marL="2049599" indent="0">
              <a:buNone/>
              <a:defRPr sz="1500"/>
            </a:lvl7pPr>
            <a:lvl8pPr marL="2391194" indent="0">
              <a:buNone/>
              <a:defRPr sz="1500"/>
            </a:lvl8pPr>
            <a:lvl9pPr marL="2732798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681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1598" indent="0">
              <a:buNone/>
              <a:defRPr sz="900"/>
            </a:lvl2pPr>
            <a:lvl3pPr marL="683199" indent="0">
              <a:buNone/>
              <a:defRPr sz="750"/>
            </a:lvl3pPr>
            <a:lvl4pPr marL="1024801" indent="0">
              <a:buNone/>
              <a:defRPr sz="675"/>
            </a:lvl4pPr>
            <a:lvl5pPr marL="1366397" indent="0">
              <a:buNone/>
              <a:defRPr sz="675"/>
            </a:lvl5pPr>
            <a:lvl6pPr marL="1707995" indent="0">
              <a:buNone/>
              <a:defRPr sz="675"/>
            </a:lvl6pPr>
            <a:lvl7pPr marL="2049599" indent="0">
              <a:buNone/>
              <a:defRPr sz="675"/>
            </a:lvl7pPr>
            <a:lvl8pPr marL="2391194" indent="0">
              <a:buNone/>
              <a:defRPr sz="675"/>
            </a:lvl8pPr>
            <a:lvl9pPr marL="2732798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prstClr val="white"/>
                </a:solidFill>
                <a:latin typeface="Arial" charset="0"/>
              </a:rPr>
              <a:t>&lt;#&gt;</a:t>
            </a:r>
          </a:p>
        </p:txBody>
      </p:sp>
    </p:spTree>
    <p:extLst>
      <p:ext uri="{BB962C8B-B14F-4D97-AF65-F5344CB8AC3E}">
        <p14:creationId xmlns:p14="http://schemas.microsoft.com/office/powerpoint/2010/main" val="36741647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66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784477875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>
            <a:normAutofit/>
          </a:bodyPr>
          <a:lstStyle>
            <a:lvl1pPr>
              <a:defRPr sz="1800">
                <a:latin typeface="Tw Cen MT" panose="020B06020201040206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789579"/>
            <a:ext cx="8207375" cy="3564731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3pPr>
              <a:defRPr sz="1200">
                <a:latin typeface="Tw Cen MT" panose="020B0602020104020603" pitchFamily="34" charset="0"/>
              </a:defRPr>
            </a:lvl3pPr>
            <a:lvl4pPr>
              <a:defRPr sz="1200">
                <a:latin typeface="Tw Cen MT" panose="020B0602020104020603" pitchFamily="34" charset="0"/>
              </a:defRPr>
            </a:lvl4pPr>
            <a:lvl5pPr>
              <a:defRPr sz="1200">
                <a:latin typeface="Tw Cen MT" panose="020B06020201040206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68449470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9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8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74696977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6"/>
            <a:ext cx="4038600" cy="3394472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6"/>
            <a:ext cx="4038600" cy="3394472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79499150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802651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15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1282470"/>
            <a:ext cx="4040188" cy="2963466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802651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15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282470"/>
            <a:ext cx="4041775" cy="2963466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036221885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811629266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4893637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51" y="789594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04210580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4"/>
            <a:ext cx="5486400" cy="425054"/>
          </a:xfrm>
        </p:spPr>
        <p:txBody>
          <a:bodyPr anchor="t"/>
          <a:lstStyle>
            <a:lvl1pPr algn="l">
              <a:defRPr sz="15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50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77988968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66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295699449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789579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35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25113281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9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8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96929676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6"/>
            <a:ext cx="4038600" cy="3394472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6"/>
            <a:ext cx="4038600" cy="3394472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612491589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802651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15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1282470"/>
            <a:ext cx="4040188" cy="2963466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802651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15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282470"/>
            <a:ext cx="4041775" cy="2963466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398892092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828531071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189922531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4"/>
            <a:ext cx="5486400" cy="425054"/>
          </a:xfrm>
        </p:spPr>
        <p:txBody>
          <a:bodyPr anchor="t"/>
          <a:lstStyle>
            <a:lvl1pPr algn="l">
              <a:defRPr sz="15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50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521696899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64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0000644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88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137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61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2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983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64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306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3968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629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29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24084893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789579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35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6069306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8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00605191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3"/>
            <a:ext cx="4038600" cy="3394472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3"/>
            <a:ext cx="4038600" cy="3394472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88007506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48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15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0"/>
            <a:ext cx="4040188" cy="2963466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802648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15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282470"/>
            <a:ext cx="4041775" cy="2963466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260164378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643051794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735159216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15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48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281278402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F:\InfoCepts_logo\InfoCepts Logo_Blue_PNG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560" y="333769"/>
            <a:ext cx="2304256" cy="163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/>
          <p:cNvGrpSpPr/>
          <p:nvPr/>
        </p:nvGrpSpPr>
        <p:grpSpPr>
          <a:xfrm>
            <a:off x="0" y="835819"/>
            <a:ext cx="9144000" cy="3680148"/>
            <a:chOff x="0" y="1114425"/>
            <a:chExt cx="9144000" cy="4906864"/>
          </a:xfrm>
        </p:grpSpPr>
        <p:sp>
          <p:nvSpPr>
            <p:cNvPr id="7" name="Rectangle 6"/>
            <p:cNvSpPr/>
            <p:nvPr/>
          </p:nvSpPr>
          <p:spPr>
            <a:xfrm>
              <a:off x="0" y="1114425"/>
              <a:ext cx="9144000" cy="4886326"/>
            </a:xfrm>
            <a:prstGeom prst="rect">
              <a:avLst/>
            </a:prstGeom>
            <a:solidFill>
              <a:srgbClr val="0065A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prstClr val="white"/>
                </a:solidFill>
              </a:endParaRP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789" r="39342" b="11228"/>
            <a:stretch/>
          </p:blipFill>
          <p:spPr>
            <a:xfrm>
              <a:off x="3359" y="1124744"/>
              <a:ext cx="5648761" cy="4896545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1491630"/>
            <a:ext cx="6851104" cy="1537878"/>
          </a:xfrm>
        </p:spPr>
        <p:txBody>
          <a:bodyPr anchor="ctr"/>
          <a:lstStyle>
            <a:lvl1pPr algn="r">
              <a:defRPr sz="337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35696" y="3036355"/>
            <a:ext cx="6851104" cy="561510"/>
          </a:xfrm>
        </p:spPr>
        <p:txBody>
          <a:bodyPr anchor="ctr">
            <a:normAutofit/>
          </a:bodyPr>
          <a:lstStyle>
            <a:lvl1pPr marL="0" indent="0" algn="r">
              <a:buNone/>
              <a:defRPr sz="18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>
                <a:solidFill>
                  <a:prstClr val="white"/>
                </a:solidFill>
                <a:latin typeface="Arial" charset="0"/>
              </a:rPr>
              <a:t>#</a:t>
            </a:r>
            <a:endParaRPr lang="en-IN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52400" y="4815735"/>
            <a:ext cx="2448272" cy="25391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IN" sz="1050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76200" y="4800600"/>
            <a:ext cx="5562600" cy="3429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IN" sz="1050" b="0" dirty="0">
                <a:solidFill>
                  <a:prstClr val="white"/>
                </a:solidFill>
              </a:rPr>
              <a:t>CAG – Customer Discovery Insights – InfoCepts Proposal Overview </a:t>
            </a:r>
          </a:p>
        </p:txBody>
      </p:sp>
    </p:spTree>
    <p:extLst>
      <p:ext uri="{BB962C8B-B14F-4D97-AF65-F5344CB8AC3E}">
        <p14:creationId xmlns:p14="http://schemas.microsoft.com/office/powerpoint/2010/main" val="1582760305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5534949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108931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8183894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1491631"/>
            <a:ext cx="6851104" cy="1537878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8140982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65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65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208560908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numCol="2" spcCol="205740">
            <a:normAutofit/>
          </a:bodyPr>
          <a:lstStyle>
            <a:lvl1pPr marL="0" indent="0">
              <a:spcBef>
                <a:spcPts val="900"/>
              </a:spcBef>
              <a:buNone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71446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 marL="357179" indent="-185733">
              <a:spcBef>
                <a:spcPts val="900"/>
              </a:spcBef>
              <a:buFont typeface="Open Sans Light" panose="020B0306030504020204" pitchFamily="34" charset="0"/>
              <a:buChar char="–"/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 marL="514337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 marL="685783" indent="-171446">
              <a:spcBef>
                <a:spcPts val="900"/>
              </a:spcBef>
              <a:buFont typeface="Open Sans Light" panose="020B0306030504020204" pitchFamily="34" charset="0"/>
              <a:buChar char="–"/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229138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1089316"/>
            <a:ext cx="8280920" cy="3470672"/>
          </a:xfrm>
        </p:spPr>
        <p:txBody>
          <a:bodyPr numCol="2" spcCol="205740">
            <a:normAutofit/>
          </a:bodyPr>
          <a:lstStyle>
            <a:lvl1pPr marL="0" indent="0">
              <a:spcBef>
                <a:spcPts val="900"/>
              </a:spcBef>
              <a:buNone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71446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 marL="342892" indent="-171446">
              <a:spcBef>
                <a:spcPts val="900"/>
              </a:spcBef>
              <a:buFont typeface="Open Sans Light" panose="020B0306030504020204" pitchFamily="34" charset="0"/>
              <a:buChar char="–"/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 marL="514337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 marL="685783" indent="-171446">
              <a:spcBef>
                <a:spcPts val="900"/>
              </a:spcBef>
              <a:buFont typeface="Open Sans Light" panose="020B0306030504020204" pitchFamily="34" charset="0"/>
              <a:buChar char="–"/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14146013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540" y="1089316"/>
            <a:ext cx="4064260" cy="3394472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75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89316"/>
            <a:ext cx="4064260" cy="3394472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75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588652778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8586778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90211729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8827542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286762" y="0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73524" y="0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0286" y="0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564892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286762" y="2564892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573524" y="2564892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860286" y="2564892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9509476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828229" y="0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656457" y="0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484686" y="0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312914" y="0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1711071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828229" y="1711071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656457" y="1711071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484686" y="1711071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312914" y="1711071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3422142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828229" y="3422142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3656457" y="3422142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484686" y="3422142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312914" y="3422142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161910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521562" y="0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043124" y="0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564685" y="0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607808" y="0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086247" y="0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282446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521562" y="1282446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3043124" y="1282446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564685" y="1282446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7607808" y="1282446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086247" y="1282446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2564892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1521562" y="2564892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3043124" y="2564892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564685" y="2564892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7607808" y="2564892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086247" y="2564892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3847338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1521562" y="3847338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043124" y="3847338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4564685" y="3847338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607808" y="3847338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6086247" y="3847338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262488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94"/>
            <a:ext cx="1828800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1220" y="1047794"/>
            <a:ext cx="1828800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0440" y="1047794"/>
            <a:ext cx="1828800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79660" y="1047794"/>
            <a:ext cx="1828800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35424"/>
            <a:ext cx="1828800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81220" y="3735424"/>
            <a:ext cx="1828800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739320" y="3735424"/>
            <a:ext cx="1828800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79660" y="3735424"/>
            <a:ext cx="1828800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2918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60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6615" indent="0">
              <a:buNone/>
              <a:defRPr sz="2000" b="1"/>
            </a:lvl2pPr>
            <a:lvl3pPr marL="913227" indent="0">
              <a:buNone/>
              <a:defRPr sz="1800" b="1"/>
            </a:lvl3pPr>
            <a:lvl4pPr marL="1369838" indent="0">
              <a:buNone/>
              <a:defRPr sz="1600" b="1"/>
            </a:lvl4pPr>
            <a:lvl5pPr marL="1826451" indent="0">
              <a:buNone/>
              <a:defRPr sz="1600" b="1"/>
            </a:lvl5pPr>
            <a:lvl6pPr marL="2283065" indent="0">
              <a:buNone/>
              <a:defRPr sz="1600" b="1"/>
            </a:lvl6pPr>
            <a:lvl7pPr marL="2739682" indent="0">
              <a:buNone/>
              <a:defRPr sz="1600" b="1"/>
            </a:lvl7pPr>
            <a:lvl8pPr marL="3196292" indent="0">
              <a:buNone/>
              <a:defRPr sz="1600" b="1"/>
            </a:lvl8pPr>
            <a:lvl9pPr marL="365290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66" y="802660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6615" indent="0">
              <a:buNone/>
              <a:defRPr sz="2000" b="1"/>
            </a:lvl2pPr>
            <a:lvl3pPr marL="913227" indent="0">
              <a:buNone/>
              <a:defRPr sz="1800" b="1"/>
            </a:lvl3pPr>
            <a:lvl4pPr marL="1369838" indent="0">
              <a:buNone/>
              <a:defRPr sz="1600" b="1"/>
            </a:lvl4pPr>
            <a:lvl5pPr marL="1826451" indent="0">
              <a:buNone/>
              <a:defRPr sz="1600" b="1"/>
            </a:lvl5pPr>
            <a:lvl6pPr marL="2283065" indent="0">
              <a:buNone/>
              <a:defRPr sz="1600" b="1"/>
            </a:lvl6pPr>
            <a:lvl7pPr marL="2739682" indent="0">
              <a:buNone/>
              <a:defRPr sz="1600" b="1"/>
            </a:lvl7pPr>
            <a:lvl8pPr marL="3196292" indent="0">
              <a:buNone/>
              <a:defRPr sz="1600" b="1"/>
            </a:lvl8pPr>
            <a:lvl9pPr marL="365290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66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758811293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94"/>
            <a:ext cx="249631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047794"/>
            <a:ext cx="249631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1047794"/>
            <a:ext cx="249631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35424"/>
            <a:ext cx="2496312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323844" y="3735424"/>
            <a:ext cx="2496312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208822" y="3735424"/>
            <a:ext cx="2496312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7880565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540" y="210015"/>
            <a:ext cx="828092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3108" y="1047794"/>
            <a:ext cx="249631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047794"/>
            <a:ext cx="249631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9608" y="1047794"/>
            <a:ext cx="249631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3108" y="3735424"/>
            <a:ext cx="2496312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323844" y="3735424"/>
            <a:ext cx="2496312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219608" y="3735424"/>
            <a:ext cx="2496312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205244973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1"/>
            <a:ext cx="4067992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047751"/>
            <a:ext cx="4067991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2895786"/>
            <a:ext cx="4067992" cy="16201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644021" y="2895786"/>
            <a:ext cx="4067991" cy="16201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842055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54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181206"/>
            <a:ext cx="406845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5" y="1181206"/>
            <a:ext cx="4067531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1540" y="3868837"/>
            <a:ext cx="4068452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644015" y="3868837"/>
            <a:ext cx="4067531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264675979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540" y="210015"/>
            <a:ext cx="828092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047750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91780" y="1047750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58662" y="1047750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83660" y="1047750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431540" y="2291462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591018" y="2291462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757138" y="2291462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881374" y="2291462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449268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175022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175022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175022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175022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2418734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6238" y="2418734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6676" y="2418734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7114" y="2418734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867165853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5700" y="1139018"/>
            <a:ext cx="2496312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39018"/>
            <a:ext cx="2496312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27728" y="1139018"/>
            <a:ext cx="2496312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445700" y="2382731"/>
            <a:ext cx="2496312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2382731"/>
            <a:ext cx="2496312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6227728" y="2382731"/>
            <a:ext cx="2496312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226229522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67594"/>
            <a:ext cx="4067992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167594"/>
            <a:ext cx="4067991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432076" y="2411306"/>
            <a:ext cx="4066772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4645169" y="2411306"/>
            <a:ext cx="4066771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232017789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038" y="1047750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6238" y="1047750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7438" y="1047750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8638" y="1047750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038" y="3537755"/>
            <a:ext cx="1831086" cy="994954"/>
          </a:xfrm>
        </p:spPr>
        <p:txBody>
          <a:bodyPr/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5476" y="3537755"/>
            <a:ext cx="1831086" cy="994954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5914" y="3537755"/>
            <a:ext cx="1831086" cy="994954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6352" y="3537755"/>
            <a:ext cx="1831086" cy="994954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685038" y="2292753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666238" y="2292753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47438" y="2292753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628638" y="2292753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840160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8032" y="1175025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9232" y="1175025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50432" y="1175025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31632" y="1175025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8032" y="3665028"/>
            <a:ext cx="1831086" cy="994954"/>
          </a:xfrm>
        </p:spPr>
        <p:txBody>
          <a:bodyPr/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8470" y="3665028"/>
            <a:ext cx="1831086" cy="994954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8908" y="3665028"/>
            <a:ext cx="1831086" cy="994954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9346" y="3665028"/>
            <a:ext cx="1831086" cy="994954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688032" y="2420028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669232" y="2420028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50432" y="2420028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631632" y="2420028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8757479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589247798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3668300"/>
            <a:ext cx="2496312" cy="1027686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668300"/>
            <a:ext cx="2496312" cy="1027686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5961888" y="3668300"/>
            <a:ext cx="2496312" cy="1027686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85800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323844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961888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7966198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0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5152" y="1047750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430932" y="3528348"/>
            <a:ext cx="4067916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3528348"/>
            <a:ext cx="4065628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2000" y="2295739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45152" y="2295739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332120238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1172369"/>
            <a:ext cx="1475656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137606" y="1172369"/>
            <a:ext cx="1475656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833458" y="1172369"/>
            <a:ext cx="1475656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529310" y="1172369"/>
            <a:ext cx="1475656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41765" y="3684901"/>
            <a:ext cx="1477501" cy="687093"/>
          </a:xfrm>
          <a:solidFill>
            <a:srgbClr val="00B0F0"/>
          </a:solidFill>
        </p:spPr>
        <p:txBody>
          <a:bodyPr wrap="square" lIns="72000" tIns="72000" rIns="72000" bIns="7200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137611" y="3684901"/>
            <a:ext cx="1477501" cy="687093"/>
          </a:xfrm>
          <a:solidFill>
            <a:srgbClr val="CF423F"/>
          </a:solidFill>
        </p:spPr>
        <p:txBody>
          <a:bodyPr wrap="square" lIns="72000" tIns="72000" rIns="72000" bIns="7200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3833465" y="3684901"/>
            <a:ext cx="1477501" cy="687093"/>
          </a:xfrm>
          <a:solidFill>
            <a:srgbClr val="D2326B"/>
          </a:solidFill>
        </p:spPr>
        <p:txBody>
          <a:bodyPr wrap="square" lIns="72000" tIns="72000" rIns="72000" bIns="7200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5529316" y="3684901"/>
            <a:ext cx="1477501" cy="687093"/>
          </a:xfrm>
          <a:solidFill>
            <a:srgbClr val="F49D00"/>
          </a:solidFill>
        </p:spPr>
        <p:txBody>
          <a:bodyPr wrap="square" lIns="72000" tIns="72000" rIns="72000" bIns="7200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222876" y="1172369"/>
            <a:ext cx="1475656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43"/>
          </p:nvPr>
        </p:nvSpPr>
        <p:spPr>
          <a:xfrm>
            <a:off x="7222878" y="3684901"/>
            <a:ext cx="1477501" cy="687093"/>
          </a:xfrm>
          <a:solidFill>
            <a:srgbClr val="00B888"/>
          </a:solidFill>
        </p:spPr>
        <p:txBody>
          <a:bodyPr wrap="square" lIns="72000" tIns="72000" rIns="72000" bIns="7200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44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11165294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344" y="1132095"/>
            <a:ext cx="249631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213864" y="1136364"/>
            <a:ext cx="249631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132095"/>
            <a:ext cx="249631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344" y="3820812"/>
            <a:ext cx="2496312" cy="510909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213864" y="3825081"/>
            <a:ext cx="2496312" cy="510909"/>
          </a:xfrm>
          <a:solidFill>
            <a:srgbClr val="CF423F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961888" y="3820812"/>
            <a:ext cx="2496312" cy="510909"/>
          </a:xfrm>
          <a:solidFill>
            <a:srgbClr val="D2326B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741152753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0"/>
            <a:ext cx="406799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047750"/>
            <a:ext cx="4067991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3702611"/>
            <a:ext cx="4066772" cy="544765"/>
          </a:xfrm>
          <a:solidFill>
            <a:srgbClr val="00B0F0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69" y="3702611"/>
            <a:ext cx="4066771" cy="544765"/>
          </a:xfrm>
          <a:solidFill>
            <a:srgbClr val="CF423F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53822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24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28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832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32000" y="2408945"/>
            <a:ext cx="1831086" cy="729430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582400" y="2408945"/>
            <a:ext cx="1831086" cy="729430"/>
          </a:xfrm>
          <a:solidFill>
            <a:srgbClr val="CF423F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730514" y="2408945"/>
            <a:ext cx="1831086" cy="729430"/>
          </a:xfrm>
          <a:solidFill>
            <a:srgbClr val="D2326B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880914" y="2408945"/>
            <a:ext cx="1831086" cy="729430"/>
          </a:xfrm>
          <a:solidFill>
            <a:srgbClr val="F49D0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432000" y="3266845"/>
            <a:ext cx="1831086" cy="128516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2582400" y="3266845"/>
            <a:ext cx="1831086" cy="128516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4730514" y="3266845"/>
            <a:ext cx="1831086" cy="128516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6880914" y="3266845"/>
            <a:ext cx="1831086" cy="128516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37466546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343285"/>
            <a:ext cx="2496312" cy="803297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343285"/>
            <a:ext cx="2496312" cy="803297"/>
          </a:xfrm>
          <a:solidFill>
            <a:srgbClr val="CF423F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343285"/>
            <a:ext cx="2496312" cy="803297"/>
          </a:xfrm>
          <a:solidFill>
            <a:srgbClr val="D2326B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435540" y="3274955"/>
            <a:ext cx="2496312" cy="1313019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28588" indent="-128588">
              <a:buFont typeface="Arial" panose="020B0604020202020204" pitchFamily="34" charset="0"/>
              <a:buChar char="•"/>
              <a:defRPr sz="1100"/>
            </a:lvl2pPr>
            <a:lvl3pPr marL="257175" indent="-128588">
              <a:defRPr sz="1100"/>
            </a:lvl3pPr>
            <a:lvl4pPr marL="385763" indent="-128588"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274955"/>
            <a:ext cx="2496312" cy="1313019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/>
            </a:lvl2pPr>
            <a:lvl3pPr marL="257175" indent="-128588">
              <a:buClr>
                <a:schemeClr val="accent4"/>
              </a:buClr>
              <a:defRPr sz="1100"/>
            </a:lvl3pPr>
            <a:lvl4pPr marL="385763" indent="-128588">
              <a:buClr>
                <a:schemeClr val="accent4"/>
              </a:buClr>
              <a:defRPr sz="1100"/>
            </a:lvl4pPr>
            <a:lvl5pPr>
              <a:buClr>
                <a:schemeClr val="accent4"/>
              </a:buCl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6215688" y="3274955"/>
            <a:ext cx="2496312" cy="1313019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/>
            </a:lvl2pPr>
            <a:lvl3pPr marL="257175" indent="-128588">
              <a:buClr>
                <a:schemeClr val="accent3"/>
              </a:buClr>
              <a:defRPr sz="1100"/>
            </a:lvl3pPr>
            <a:lvl4pPr marL="385763" indent="-128588">
              <a:buClr>
                <a:schemeClr val="accent3"/>
              </a:buClr>
              <a:defRPr sz="1100"/>
            </a:lvl4pPr>
            <a:lvl5pPr>
              <a:buClr>
                <a:schemeClr val="accent3"/>
              </a:buCl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854977413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10477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0477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0477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486080"/>
            <a:ext cx="2496312" cy="544765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486080"/>
            <a:ext cx="2496312" cy="544765"/>
          </a:xfrm>
          <a:solidFill>
            <a:srgbClr val="CF423F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486080"/>
            <a:ext cx="2496312" cy="544765"/>
          </a:xfrm>
          <a:solidFill>
            <a:srgbClr val="D2326B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Content Placeholder 13"/>
          <p:cNvSpPr>
            <a:spLocks noGrp="1"/>
          </p:cNvSpPr>
          <p:nvPr>
            <p:ph sz="quarter" idx="18"/>
          </p:nvPr>
        </p:nvSpPr>
        <p:spPr>
          <a:xfrm>
            <a:off x="435540" y="3159230"/>
            <a:ext cx="2496312" cy="131301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159230"/>
            <a:ext cx="2496312" cy="131301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13"/>
          <p:cNvSpPr>
            <a:spLocks noGrp="1"/>
          </p:cNvSpPr>
          <p:nvPr>
            <p:ph sz="quarter" idx="20"/>
          </p:nvPr>
        </p:nvSpPr>
        <p:spPr>
          <a:xfrm>
            <a:off x="6215688" y="3159230"/>
            <a:ext cx="2496312" cy="131301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2813579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67596"/>
            <a:ext cx="406799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167596"/>
            <a:ext cx="4067991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2578181"/>
            <a:ext cx="4066772" cy="572464"/>
          </a:xfrm>
          <a:solidFill>
            <a:srgbClr val="00B0F0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2578181"/>
            <a:ext cx="4066770" cy="572464"/>
          </a:xfrm>
          <a:solidFill>
            <a:srgbClr val="CF423F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432076" y="3279073"/>
            <a:ext cx="4066772" cy="127730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645169" y="3279073"/>
            <a:ext cx="4066771" cy="127730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934598475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29550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1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52" y="1295500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612783" y="129550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4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3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409680" y="1295500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4794025" y="129550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5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5590946" y="1295500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75267" y="129550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7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7772169" y="1295500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3081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9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52" y="2430818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612783" y="243081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1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3409680" y="2430818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2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94025" y="243081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3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5590946" y="2430818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975267" y="243081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5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7772169" y="2430818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6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6613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7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228452" y="3566136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8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2612783" y="356613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6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9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3409680" y="3566136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0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794025" y="356613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1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5590946" y="3566136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2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975267" y="356613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3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7772169" y="3566136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208426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79399145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31504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7" y="1331504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31504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4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069975" y="1331504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31504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911512" y="1331504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66823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9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7" y="2466822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466823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7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069975" y="2466822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8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46682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0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6911512" y="2466822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60214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228437" y="3602140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70244" y="360214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6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069975" y="3602140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108947" y="360214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6911512" y="3602140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405643341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7" y="1302230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069975" y="1302230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911512" y="1302230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7" y="2987321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9872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4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069975" y="2987321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98727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6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6911512" y="2987321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800254167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721538" y="1302230"/>
            <a:ext cx="2669009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709852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6002681" y="1302230"/>
            <a:ext cx="2669009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78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721538" y="2987321"/>
            <a:ext cx="2669009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709852" y="2987278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4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6002681" y="2987321"/>
            <a:ext cx="2669009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9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266413790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173186" y="1284629"/>
            <a:ext cx="1049445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431557" y="2497528"/>
            <a:ext cx="2532703" cy="1802414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011960" y="1284629"/>
            <a:ext cx="1049445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270332" y="2497528"/>
            <a:ext cx="2532703" cy="1802414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850601" y="1284626"/>
            <a:ext cx="1049445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108972" y="2497528"/>
            <a:ext cx="2532703" cy="1802414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913134894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6213" y="1356635"/>
            <a:ext cx="1049445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39452" y="2569537"/>
            <a:ext cx="1802967" cy="1802414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019126" y="1356635"/>
            <a:ext cx="1049445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2642365" y="2569537"/>
            <a:ext cx="1802967" cy="1802414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5122004" y="1356635"/>
            <a:ext cx="1049445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4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4745243" y="2569537"/>
            <a:ext cx="1802967" cy="1802414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224912" y="1356635"/>
            <a:ext cx="1049445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6848151" y="2569537"/>
            <a:ext cx="1802967" cy="1802414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44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598255329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51569"/>
            <a:ext cx="1874440" cy="265176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484564" y="951569"/>
            <a:ext cx="1976081" cy="2651760"/>
          </a:xfrm>
        </p:spPr>
        <p:txBody>
          <a:bodyPr>
            <a:noAutofit/>
          </a:bodyPr>
          <a:lstStyle>
            <a:lvl1pPr marL="0" indent="0">
              <a:buNone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113110" indent="-113110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01229" indent="-155972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4pPr>
            <a:lvl5pPr marL="571486" indent="-171446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32001" y="3735424"/>
            <a:ext cx="4028640" cy="719138"/>
          </a:xfrm>
        </p:spPr>
        <p:txBody>
          <a:bodyPr>
            <a:noAutofit/>
          </a:bodyPr>
          <a:lstStyle>
            <a:lvl1pPr marL="0" indent="0">
              <a:buNone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228594" indent="-114297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400040" indent="-171446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4pPr>
            <a:lvl5pPr marL="571486" indent="-171446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93479" y="3735424"/>
            <a:ext cx="4018521" cy="719138"/>
          </a:xfrm>
        </p:spPr>
        <p:txBody>
          <a:bodyPr>
            <a:noAutofit/>
          </a:bodyPr>
          <a:lstStyle>
            <a:lvl1pPr marL="0" indent="0">
              <a:buNone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228594" indent="-114297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400040" indent="-171446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4pPr>
            <a:lvl5pPr marL="571486" indent="-171446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82068" y="951569"/>
            <a:ext cx="1874440" cy="265176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734634" y="951569"/>
            <a:ext cx="1976081" cy="2651760"/>
          </a:xfrm>
        </p:spPr>
        <p:txBody>
          <a:bodyPr>
            <a:noAutofit/>
          </a:bodyPr>
          <a:lstStyle>
            <a:lvl1pPr marL="0" indent="0">
              <a:buNone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113110" indent="-113110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01229" indent="-155972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4pPr>
            <a:lvl5pPr marL="571486" indent="-171446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942836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gradFill>
          <a:gsLst>
            <a:gs pos="0">
              <a:schemeClr val="accent1"/>
            </a:gs>
            <a:gs pos="100000">
              <a:schemeClr val="accent5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0194195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gradFill>
          <a:gsLst>
            <a:gs pos="0">
              <a:schemeClr val="accent1"/>
            </a:gs>
            <a:gs pos="100000">
              <a:schemeClr val="accent5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8"/>
            <a:ext cx="9144000" cy="5143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1540" y="210015"/>
            <a:ext cx="828092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986564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gradFill>
          <a:gsLst>
            <a:gs pos="0">
              <a:schemeClr val="accent1"/>
            </a:gs>
            <a:gs pos="100000">
              <a:schemeClr val="accent5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8"/>
            <a:ext cx="9144000" cy="5143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385404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bg>
      <p:bgPr>
        <a:gradFill>
          <a:gsLst>
            <a:gs pos="0">
              <a:schemeClr val="accent1"/>
            </a:gs>
            <a:gs pos="100000">
              <a:schemeClr val="accent5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8"/>
            <a:ext cx="9144000" cy="5143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IN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18032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2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6615" indent="0">
              <a:buNone/>
              <a:defRPr sz="2800"/>
            </a:lvl2pPr>
            <a:lvl3pPr marL="913227" indent="0">
              <a:buNone/>
              <a:defRPr sz="2400"/>
            </a:lvl3pPr>
            <a:lvl4pPr marL="1369838" indent="0">
              <a:buNone/>
              <a:defRPr sz="2000"/>
            </a:lvl4pPr>
            <a:lvl5pPr marL="1826451" indent="0">
              <a:buNone/>
              <a:defRPr sz="2000"/>
            </a:lvl5pPr>
            <a:lvl6pPr marL="2283065" indent="0">
              <a:buNone/>
              <a:defRPr sz="2000"/>
            </a:lvl6pPr>
            <a:lvl7pPr marL="2739682" indent="0">
              <a:buNone/>
              <a:defRPr sz="2000"/>
            </a:lvl7pPr>
            <a:lvl8pPr marL="3196292" indent="0">
              <a:buNone/>
              <a:defRPr sz="2000"/>
            </a:lvl8pPr>
            <a:lvl9pPr marL="3652906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9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6615" indent="0">
              <a:buNone/>
              <a:defRPr sz="1200"/>
            </a:lvl2pPr>
            <a:lvl3pPr marL="913227" indent="0">
              <a:buNone/>
              <a:defRPr sz="1000"/>
            </a:lvl3pPr>
            <a:lvl4pPr marL="1369838" indent="0">
              <a:buNone/>
              <a:defRPr sz="900"/>
            </a:lvl4pPr>
            <a:lvl5pPr marL="1826451" indent="0">
              <a:buNone/>
              <a:defRPr sz="900"/>
            </a:lvl5pPr>
            <a:lvl6pPr marL="2283065" indent="0">
              <a:buNone/>
              <a:defRPr sz="900"/>
            </a:lvl6pPr>
            <a:lvl7pPr marL="2739682" indent="0">
              <a:buNone/>
              <a:defRPr sz="900"/>
            </a:lvl7pPr>
            <a:lvl8pPr marL="3196292" indent="0">
              <a:buNone/>
              <a:defRPr sz="900"/>
            </a:lvl8pPr>
            <a:lvl9pPr marL="365290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569373872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756697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206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300488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51" y="789579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76048634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9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41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0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29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3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48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5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6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7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1923034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6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6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12753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802651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101" indent="0">
              <a:buNone/>
              <a:defRPr sz="2000" b="1"/>
            </a:lvl2pPr>
            <a:lvl3pPr marL="914193" indent="0">
              <a:buNone/>
              <a:defRPr sz="1800" b="1"/>
            </a:lvl3pPr>
            <a:lvl4pPr marL="1371294" indent="0">
              <a:buNone/>
              <a:defRPr sz="1600" b="1"/>
            </a:lvl4pPr>
            <a:lvl5pPr marL="1828386" indent="0">
              <a:buNone/>
              <a:defRPr sz="1600" b="1"/>
            </a:lvl5pPr>
            <a:lvl6pPr marL="2285487" indent="0">
              <a:buNone/>
              <a:defRPr sz="1600" b="1"/>
            </a:lvl6pPr>
            <a:lvl7pPr marL="2742579" indent="0">
              <a:buNone/>
              <a:defRPr sz="1600" b="1"/>
            </a:lvl7pPr>
            <a:lvl8pPr marL="3199680" indent="0">
              <a:buNone/>
              <a:defRPr sz="1600" b="1"/>
            </a:lvl8pPr>
            <a:lvl9pPr marL="365678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92" y="802651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101" indent="0">
              <a:buNone/>
              <a:defRPr sz="2000" b="1"/>
            </a:lvl2pPr>
            <a:lvl3pPr marL="914193" indent="0">
              <a:buNone/>
              <a:defRPr sz="1800" b="1"/>
            </a:lvl3pPr>
            <a:lvl4pPr marL="1371294" indent="0">
              <a:buNone/>
              <a:defRPr sz="1600" b="1"/>
            </a:lvl4pPr>
            <a:lvl5pPr marL="1828386" indent="0">
              <a:buNone/>
              <a:defRPr sz="1600" b="1"/>
            </a:lvl5pPr>
            <a:lvl6pPr marL="2285487" indent="0">
              <a:buNone/>
              <a:defRPr sz="1600" b="1"/>
            </a:lvl6pPr>
            <a:lvl7pPr marL="2742579" indent="0">
              <a:buNone/>
              <a:defRPr sz="1600" b="1"/>
            </a:lvl7pPr>
            <a:lvl8pPr marL="3199680" indent="0">
              <a:buNone/>
              <a:defRPr sz="1600" b="1"/>
            </a:lvl8pPr>
            <a:lvl9pPr marL="365678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92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1843211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4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3555859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1853583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4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101" indent="0">
              <a:buNone/>
              <a:defRPr sz="2800"/>
            </a:lvl2pPr>
            <a:lvl3pPr marL="914193" indent="0">
              <a:buNone/>
              <a:defRPr sz="2400"/>
            </a:lvl3pPr>
            <a:lvl4pPr marL="1371294" indent="0">
              <a:buNone/>
              <a:defRPr sz="2000"/>
            </a:lvl4pPr>
            <a:lvl5pPr marL="1828386" indent="0">
              <a:buNone/>
              <a:defRPr sz="2000"/>
            </a:lvl5pPr>
            <a:lvl6pPr marL="2285487" indent="0">
              <a:buNone/>
              <a:defRPr sz="2000"/>
            </a:lvl6pPr>
            <a:lvl7pPr marL="2742579" indent="0">
              <a:buNone/>
              <a:defRPr sz="2000"/>
            </a:lvl7pPr>
            <a:lvl8pPr marL="3199680" indent="0">
              <a:buNone/>
              <a:defRPr sz="2000"/>
            </a:lvl8pPr>
            <a:lvl9pPr marL="3656780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890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101" indent="0">
              <a:buNone/>
              <a:defRPr sz="1200"/>
            </a:lvl2pPr>
            <a:lvl3pPr marL="914193" indent="0">
              <a:buNone/>
              <a:defRPr sz="1000"/>
            </a:lvl3pPr>
            <a:lvl4pPr marL="1371294" indent="0">
              <a:buNone/>
              <a:defRPr sz="900"/>
            </a:lvl4pPr>
            <a:lvl5pPr marL="1828386" indent="0">
              <a:buNone/>
              <a:defRPr sz="900"/>
            </a:lvl5pPr>
            <a:lvl6pPr marL="2285487" indent="0">
              <a:buNone/>
              <a:defRPr sz="900"/>
            </a:lvl6pPr>
            <a:lvl7pPr marL="2742579" indent="0">
              <a:buNone/>
              <a:defRPr sz="900"/>
            </a:lvl7pPr>
            <a:lvl8pPr marL="3199680" indent="0">
              <a:buNone/>
              <a:defRPr sz="900"/>
            </a:lvl8pPr>
            <a:lvl9pPr marL="365678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527723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34"/>
          <p:cNvSpPr>
            <a:spLocks noGrp="1" noChangeArrowheads="1"/>
          </p:cNvSpPr>
          <p:nvPr>
            <p:ph type="title"/>
          </p:nvPr>
        </p:nvSpPr>
        <p:spPr bwMode="auto">
          <a:xfrm>
            <a:off x="241300" y="159547"/>
            <a:ext cx="8714232" cy="411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11" rIns="91422" bIns="45711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1345518"/>
      </p:ext>
    </p:extLst>
  </p:cSld>
  <p:clrMapOvr>
    <a:masterClrMapping/>
  </p:clrMapOvr>
  <p:transition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15817" y="2733881"/>
            <a:ext cx="5832648" cy="788287"/>
          </a:xfrm>
        </p:spPr>
        <p:txBody>
          <a:bodyPr/>
          <a:lstStyle>
            <a:lvl1pPr>
              <a:defRPr>
                <a:solidFill>
                  <a:srgbClr val="CBEC78"/>
                </a:solidFill>
              </a:defRPr>
            </a:lvl1pPr>
          </a:lstStyle>
          <a:p>
            <a:r>
              <a:rPr lang="en-IN" dirty="0"/>
              <a:t>Your Sub headline will g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816" y="1599782"/>
            <a:ext cx="5832648" cy="1134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9595872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04790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95" y="204895"/>
            <a:ext cx="5111751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101" indent="0">
              <a:buNone/>
              <a:defRPr sz="1200"/>
            </a:lvl2pPr>
            <a:lvl3pPr marL="914193" indent="0">
              <a:buNone/>
              <a:defRPr sz="1000"/>
            </a:lvl3pPr>
            <a:lvl4pPr marL="1371294" indent="0">
              <a:buNone/>
              <a:defRPr sz="900"/>
            </a:lvl4pPr>
            <a:lvl5pPr marL="1828386" indent="0">
              <a:buNone/>
              <a:defRPr sz="900"/>
            </a:lvl5pPr>
            <a:lvl6pPr marL="2285487" indent="0">
              <a:buNone/>
              <a:defRPr sz="900"/>
            </a:lvl6pPr>
            <a:lvl7pPr marL="2742579" indent="0">
              <a:buNone/>
              <a:defRPr sz="900"/>
            </a:lvl7pPr>
            <a:lvl8pPr marL="3199680" indent="0">
              <a:buNone/>
              <a:defRPr sz="900"/>
            </a:lvl8pPr>
            <a:lvl9pPr marL="365678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4784242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373949605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 lIns="91369" tIns="45684" rIns="91369" bIns="45684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  <a:endParaRPr lang="en-IN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2165042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gradFill>
          <a:gsLst>
            <a:gs pos="0">
              <a:schemeClr val="accent1"/>
            </a:gs>
            <a:gs pos="100000">
              <a:schemeClr val="accent5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8"/>
            <a:ext cx="9144000" cy="5143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914171" fontAlgn="auto">
              <a:spcBef>
                <a:spcPts val="0"/>
              </a:spcBef>
              <a:spcAft>
                <a:spcPts val="0"/>
              </a:spcAft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52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16480017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2605972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8361726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3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51" y="789579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977992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540" y="735555"/>
            <a:ext cx="8280920" cy="3542680"/>
          </a:xfrm>
        </p:spPr>
        <p:txBody>
          <a:bodyPr>
            <a:normAutofit/>
          </a:bodyPr>
          <a:lstStyle>
            <a:lvl1pPr algn="l" defTabSz="914378" rtl="0" eaLnBrk="1" latinLnBrk="0" hangingPunct="1">
              <a:spcBef>
                <a:spcPct val="20000"/>
              </a:spcBef>
              <a:buClrTx/>
              <a:defRPr lang="en-US" sz="1400" kern="800" spc="-1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algn="l" defTabSz="914378" rtl="0" eaLnBrk="1" latinLnBrk="0" hangingPunct="1">
              <a:spcBef>
                <a:spcPct val="20000"/>
              </a:spcBef>
              <a:buClrTx/>
              <a:defRPr lang="en-US" sz="1400" kern="800" spc="-1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>
              <a:spcBef>
                <a:spcPts val="900"/>
              </a:spcBef>
              <a:defRPr sz="1400">
                <a:latin typeface="Calibri" panose="020F0502020204030204" pitchFamily="34" charset="0"/>
              </a:defRPr>
            </a:lvl3pPr>
            <a:lvl4pPr>
              <a:spcBef>
                <a:spcPts val="900"/>
              </a:spcBef>
              <a:defRPr sz="1400">
                <a:latin typeface="Calibri" panose="020F0502020204030204" pitchFamily="34" charset="0"/>
              </a:defRPr>
            </a:lvl4pPr>
            <a:lvl5pPr>
              <a:spcBef>
                <a:spcPts val="900"/>
              </a:spcBef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3859319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540" y="735555"/>
            <a:ext cx="8280920" cy="3542680"/>
          </a:xfrm>
        </p:spPr>
        <p:txBody>
          <a:bodyPr>
            <a:normAutofit/>
          </a:bodyPr>
          <a:lstStyle>
            <a:lvl1pPr algn="l" defTabSz="914378" rtl="0" eaLnBrk="1" latinLnBrk="0" hangingPunct="1">
              <a:spcBef>
                <a:spcPct val="20000"/>
              </a:spcBef>
              <a:buClrTx/>
              <a:defRPr lang="en-US" sz="2000" kern="800" spc="-1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algn="l" defTabSz="914378" rtl="0" eaLnBrk="1" latinLnBrk="0" hangingPunct="1">
              <a:spcBef>
                <a:spcPct val="20000"/>
              </a:spcBef>
              <a:buClrTx/>
              <a:defRPr lang="en-US" sz="1600" kern="800" spc="-1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>
              <a:spcBef>
                <a:spcPts val="900"/>
              </a:spcBef>
              <a:defRPr sz="1400">
                <a:latin typeface="Calibri" panose="020F0502020204030204" pitchFamily="34" charset="0"/>
              </a:defRPr>
            </a:lvl3pPr>
            <a:lvl4pPr>
              <a:spcBef>
                <a:spcPts val="900"/>
              </a:spcBef>
              <a:defRPr sz="1400">
                <a:latin typeface="Calibri" panose="020F0502020204030204" pitchFamily="34" charset="0"/>
              </a:defRPr>
            </a:lvl4pPr>
            <a:lvl5pPr>
              <a:spcBef>
                <a:spcPts val="900"/>
              </a:spcBef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4684398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540" y="1113590"/>
            <a:ext cx="8280920" cy="3525003"/>
          </a:xfrm>
        </p:spPr>
        <p:txBody>
          <a:bodyPr/>
          <a:lstStyle>
            <a:lvl1pPr marL="179388" marR="0" indent="-179388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>
                <a:latin typeface="Calibri" panose="020F0502020204030204" pitchFamily="34" charset="0"/>
              </a:defRPr>
            </a:lvl1pPr>
            <a:lvl2pPr marL="344480" marR="0" indent="-173034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>
                <a:latin typeface="Calibri" panose="020F0502020204030204" pitchFamily="34" charset="0"/>
              </a:defRPr>
            </a:lvl2pPr>
            <a:lvl3pPr>
              <a:spcBef>
                <a:spcPts val="900"/>
              </a:spcBef>
              <a:defRPr>
                <a:latin typeface="Calibri" panose="020F0502020204030204" pitchFamily="34" charset="0"/>
              </a:defRPr>
            </a:lvl3pPr>
            <a:lvl4pPr>
              <a:spcBef>
                <a:spcPts val="900"/>
              </a:spcBef>
              <a:defRPr>
                <a:latin typeface="Calibri" panose="020F0502020204030204" pitchFamily="34" charset="0"/>
              </a:defRPr>
            </a:lvl4pPr>
            <a:lvl5pPr>
              <a:spcBef>
                <a:spcPts val="900"/>
              </a:spcBef>
              <a:defRPr>
                <a:latin typeface="Calibri" panose="020F0502020204030204" pitchFamily="34" charset="0"/>
              </a:defRPr>
            </a:lvl5pPr>
          </a:lstStyle>
          <a:p>
            <a:pPr marL="179388" marR="0" lvl="0" indent="-179388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800" cap="none" spc="-1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dit Master text styles</a:t>
            </a:r>
          </a:p>
          <a:p>
            <a:pPr marL="344480" marR="0" lvl="1" indent="-173034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80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econd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540" y="735546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5447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968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6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530198686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540" y="735556"/>
            <a:ext cx="8280920" cy="3578684"/>
          </a:xfrm>
        </p:spPr>
        <p:txBody>
          <a:bodyPr numCol="2" spcCol="205740">
            <a:normAutofit/>
          </a:bodyPr>
          <a:lstStyle>
            <a:lvl1pPr marL="179388" marR="0" indent="-179388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400">
                <a:latin typeface="Calibri" panose="020F0502020204030204" pitchFamily="34" charset="0"/>
              </a:defRPr>
            </a:lvl1pPr>
            <a:lvl2pPr marL="344480" marR="0" indent="-173034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>
                <a:latin typeface="Calibri" panose="020F0502020204030204" pitchFamily="34" charset="0"/>
              </a:defRPr>
            </a:lvl2pPr>
            <a:lvl3pPr marL="357179" indent="-185733">
              <a:spcBef>
                <a:spcPts val="900"/>
              </a:spcBef>
              <a:buFont typeface="Open Sans Light" panose="020B0306030504020204" pitchFamily="34" charset="0"/>
              <a:buChar char="–"/>
              <a:defRPr sz="1400">
                <a:latin typeface="Calibri" panose="020F0502020204030204" pitchFamily="34" charset="0"/>
              </a:defRPr>
            </a:lvl3pPr>
            <a:lvl4pPr marL="514337" indent="-171446">
              <a:spcBef>
                <a:spcPts val="900"/>
              </a:spcBef>
              <a:buFont typeface="Arial" panose="020B0604020202020204" pitchFamily="34" charset="0"/>
              <a:buChar char="•"/>
              <a:defRPr sz="1400">
                <a:latin typeface="Calibri" panose="020F0502020204030204" pitchFamily="34" charset="0"/>
              </a:defRPr>
            </a:lvl4pPr>
            <a:lvl5pPr marL="685783" indent="-171446">
              <a:spcBef>
                <a:spcPts val="900"/>
              </a:spcBef>
              <a:buFont typeface="Open Sans Light" panose="020B0306030504020204" pitchFamily="34" charset="0"/>
              <a:buChar char="–"/>
              <a:defRPr sz="1400">
                <a:latin typeface="Calibri" panose="020F0502020204030204" pitchFamily="34" charset="0"/>
              </a:defRPr>
            </a:lvl5pPr>
          </a:lstStyle>
          <a:p>
            <a:pPr marL="179388" marR="0" lvl="0" indent="-179388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800" cap="none" spc="-1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dit Master text styles</a:t>
            </a:r>
          </a:p>
          <a:p>
            <a:pPr marL="344480" marR="0" lvl="1" indent="-173034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80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econd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8165041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540" y="1113589"/>
            <a:ext cx="8280920" cy="3536912"/>
          </a:xfrm>
        </p:spPr>
        <p:txBody>
          <a:bodyPr numCol="2" spcCol="205740">
            <a:normAutofit/>
          </a:bodyPr>
          <a:lstStyle>
            <a:lvl1pPr marL="179388" marR="0" indent="-179388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400">
                <a:latin typeface="Calibri" panose="020F0502020204030204" pitchFamily="34" charset="0"/>
              </a:defRPr>
            </a:lvl1pPr>
            <a:lvl2pPr marL="344480" marR="0" indent="-173034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>
                <a:latin typeface="Calibri" panose="020F0502020204030204" pitchFamily="34" charset="0"/>
              </a:defRPr>
            </a:lvl2pPr>
            <a:lvl3pPr marL="342892" indent="-171446">
              <a:spcBef>
                <a:spcPts val="900"/>
              </a:spcBef>
              <a:buFont typeface="Open Sans Light" panose="020B0306030504020204" pitchFamily="34" charset="0"/>
              <a:buChar char="–"/>
              <a:defRPr sz="1400">
                <a:latin typeface="Calibri" panose="020F0502020204030204" pitchFamily="34" charset="0"/>
              </a:defRPr>
            </a:lvl3pPr>
            <a:lvl4pPr marL="514337" indent="-171446">
              <a:spcBef>
                <a:spcPts val="900"/>
              </a:spcBef>
              <a:buFont typeface="Arial" panose="020B0604020202020204" pitchFamily="34" charset="0"/>
              <a:buChar char="•"/>
              <a:defRPr sz="1400">
                <a:latin typeface="Calibri" panose="020F0502020204030204" pitchFamily="34" charset="0"/>
              </a:defRPr>
            </a:lvl4pPr>
            <a:lvl5pPr marL="685783" indent="-171446">
              <a:spcBef>
                <a:spcPts val="900"/>
              </a:spcBef>
              <a:buFont typeface="Open Sans Light" panose="020B0306030504020204" pitchFamily="34" charset="0"/>
              <a:buChar char="–"/>
              <a:defRPr sz="1400">
                <a:latin typeface="Calibri" panose="020F0502020204030204" pitchFamily="34" charset="0"/>
              </a:defRPr>
            </a:lvl5pPr>
          </a:lstStyle>
          <a:p>
            <a:pPr marL="179388" marR="0" lvl="0" indent="-179388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800" cap="none" spc="-1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dit Master text styles</a:t>
            </a:r>
          </a:p>
          <a:p>
            <a:pPr marL="344480" marR="0" lvl="1" indent="-173034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80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econd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540" y="735546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6458790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31540" y="1113614"/>
            <a:ext cx="4064260" cy="3421807"/>
          </a:xfrm>
        </p:spPr>
        <p:txBody>
          <a:bodyPr>
            <a:normAutofit/>
          </a:bodyPr>
          <a:lstStyle>
            <a:lvl1pPr marL="179388" marR="0" indent="-179388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400">
                <a:latin typeface="Calibri" panose="020F0502020204030204" pitchFamily="34" charset="0"/>
              </a:defRPr>
            </a:lvl1pPr>
            <a:lvl2pPr marL="344480" marR="0" indent="-173034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>
                <a:latin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</a:defRPr>
            </a:lvl3pPr>
            <a:lvl4pPr>
              <a:defRPr sz="1400">
                <a:latin typeface="Calibri" panose="020F0502020204030204" pitchFamily="34" charset="0"/>
              </a:defRPr>
            </a:lvl4pPr>
            <a:lvl5pPr>
              <a:defRPr sz="1400">
                <a:latin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79388" marR="0" lvl="0" indent="-179388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800" cap="none" spc="-1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dit Master text styles</a:t>
            </a:r>
          </a:p>
          <a:p>
            <a:pPr marL="344480" marR="0" lvl="1" indent="-173034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80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113614"/>
            <a:ext cx="4064260" cy="3421807"/>
          </a:xfrm>
        </p:spPr>
        <p:txBody>
          <a:bodyPr>
            <a:normAutofit/>
          </a:bodyPr>
          <a:lstStyle>
            <a:lvl1pPr marL="179388" marR="0" indent="-179388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400">
                <a:latin typeface="Calibri" panose="020F0502020204030204" pitchFamily="34" charset="0"/>
              </a:defRPr>
            </a:lvl1pPr>
            <a:lvl2pPr marL="344480" marR="0" indent="-173034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>
                <a:latin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</a:defRPr>
            </a:lvl3pPr>
            <a:lvl4pPr>
              <a:defRPr sz="1400">
                <a:latin typeface="Calibri" panose="020F0502020204030204" pitchFamily="34" charset="0"/>
              </a:defRPr>
            </a:lvl4pPr>
            <a:lvl5pPr>
              <a:defRPr sz="1400">
                <a:latin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179388" marR="0" lvl="0" indent="-179388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800" cap="none" spc="-1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dit Master text styles</a:t>
            </a:r>
          </a:p>
          <a:p>
            <a:pPr marL="344480" marR="0" lvl="1" indent="-173034" algn="l" defTabSz="9143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80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econd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540" y="735546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530291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224785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431800" y="1465495"/>
            <a:ext cx="1944688" cy="1754575"/>
          </a:xfrm>
        </p:spPr>
        <p:txBody>
          <a:bodyPr/>
          <a:lstStyle/>
          <a:p>
            <a:endParaRPr lang="en-IN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2627784" y="1465495"/>
            <a:ext cx="1944688" cy="1754575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752020" y="1465495"/>
            <a:ext cx="1944688" cy="1754575"/>
          </a:xfrm>
        </p:spPr>
        <p:txBody>
          <a:bodyPr/>
          <a:lstStyle/>
          <a:p>
            <a:endParaRPr lang="en-IN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6948004" y="1465495"/>
            <a:ext cx="1944688" cy="1754575"/>
          </a:xfrm>
        </p:spPr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91820580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540" y="735546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069899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9708228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286762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73524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0286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286762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573524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860286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28608722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828229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656457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484686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312914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171109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828229" y="171109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656457" y="171109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484686" y="171109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312914" y="171109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342216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828229" y="342216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3656457" y="342216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484686" y="342216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312914" y="342216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27350556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521562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043124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564685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607808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086247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521562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3043124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564685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1521562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3043124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564685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7607808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086247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1521562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043124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4564685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607808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6086247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170095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51" y="789594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16370548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735547"/>
            <a:ext cx="1828800" cy="243027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1220" y="735547"/>
            <a:ext cx="1828800" cy="243027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0440" y="735547"/>
            <a:ext cx="1828800" cy="243027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79660" y="735547"/>
            <a:ext cx="1828800" cy="243027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81220" y="3273836"/>
            <a:ext cx="1828800" cy="142632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3273836"/>
            <a:ext cx="1828800" cy="142632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6865236" y="3273836"/>
            <a:ext cx="1828800" cy="142632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716016" y="3273836"/>
            <a:ext cx="1828800" cy="142632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10448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789559"/>
            <a:ext cx="2496312" cy="237626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789559"/>
            <a:ext cx="2496312" cy="237626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789559"/>
            <a:ext cx="2496312" cy="237626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3273835"/>
            <a:ext cx="2483816" cy="140415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3323844" y="3273835"/>
            <a:ext cx="2483816" cy="140415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6216784" y="3273835"/>
            <a:ext cx="2483816" cy="140415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17019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31540" y="70008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59764"/>
            <a:ext cx="2496312" cy="210623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059764"/>
            <a:ext cx="2496312" cy="210623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1059764"/>
            <a:ext cx="2496312" cy="210623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32000" y="3273835"/>
            <a:ext cx="2483816" cy="140415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3323844" y="3273835"/>
            <a:ext cx="2483816" cy="140415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6216784" y="3273835"/>
            <a:ext cx="2483816" cy="140415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93937296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938"/>
            <a:ext cx="406799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047938"/>
            <a:ext cx="4067991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3735442"/>
            <a:ext cx="4068000" cy="71913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644008" y="3735442"/>
            <a:ext cx="4068000" cy="71913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980307068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047938"/>
            <a:ext cx="406845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5" y="1047938"/>
            <a:ext cx="4067531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3154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32000" y="3735442"/>
            <a:ext cx="4068000" cy="71913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644008" y="3735442"/>
            <a:ext cx="4068000" cy="71913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93919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047774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91780" y="1047774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58662" y="1047774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83660" y="1047774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81220" y="2301720"/>
            <a:ext cx="1828800" cy="2376264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2301720"/>
            <a:ext cx="1828800" cy="2376264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6865236" y="2301720"/>
            <a:ext cx="1828800" cy="2376264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716016" y="2301720"/>
            <a:ext cx="1828800" cy="2376264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377302565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74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1220" y="1047774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16016" y="1047774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5236" y="1047774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81220" y="2247720"/>
            <a:ext cx="1828800" cy="220685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2247720"/>
            <a:ext cx="1828800" cy="220685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6865236" y="2247720"/>
            <a:ext cx="1828800" cy="220685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716016" y="2247720"/>
            <a:ext cx="1828800" cy="220685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73195287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0"/>
            <a:ext cx="2496312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047750"/>
            <a:ext cx="2496312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27728" y="1047750"/>
            <a:ext cx="2496312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32000" y="2247883"/>
            <a:ext cx="2483816" cy="232225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3323844" y="2247883"/>
            <a:ext cx="2483816" cy="232225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6216784" y="2247883"/>
            <a:ext cx="2483816" cy="232225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77825096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0"/>
            <a:ext cx="4067992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047750"/>
            <a:ext cx="4067991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32000" y="2301895"/>
            <a:ext cx="4068000" cy="215285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644008" y="2301895"/>
            <a:ext cx="4068000" cy="215285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2388848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1220" y="1047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16016" y="1047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5236" y="1047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32000" y="2292771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581220" y="2292771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716016" y="2292771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865236" y="2292771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81220" y="3490033"/>
            <a:ext cx="1828800" cy="11881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3490033"/>
            <a:ext cx="1828800" cy="11881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6865236" y="3490033"/>
            <a:ext cx="1828800" cy="11881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716016" y="3490033"/>
            <a:ext cx="1828800" cy="11881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90035401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88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137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61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2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983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64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306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3968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629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29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291426460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1220" y="1047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16016" y="1047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5236" y="1047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32000" y="2292771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581220" y="2292771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716016" y="2292771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865236" y="2292771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81220" y="3490033"/>
            <a:ext cx="1828800" cy="11881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3490033"/>
            <a:ext cx="1828800" cy="11881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6865236" y="3490033"/>
            <a:ext cx="1828800" cy="11881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716016" y="3490033"/>
            <a:ext cx="1828800" cy="11881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023694842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0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047750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04288" y="1047750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432000" y="2295757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323844" y="2295757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204288" y="2295757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32000" y="3462645"/>
            <a:ext cx="2483816" cy="110732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3323844" y="3462645"/>
            <a:ext cx="2483816" cy="110732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42" hasCustomPrompt="1"/>
          </p:nvPr>
        </p:nvSpPr>
        <p:spPr>
          <a:xfrm>
            <a:off x="6216784" y="3462645"/>
            <a:ext cx="2483816" cy="110732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07705178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0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5152" y="1047750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2000" y="2295757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45152" y="2295757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32000" y="3462645"/>
            <a:ext cx="4069136" cy="117007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42" hasCustomPrompt="1"/>
          </p:nvPr>
        </p:nvSpPr>
        <p:spPr>
          <a:xfrm>
            <a:off x="4645152" y="3462645"/>
            <a:ext cx="4069136" cy="117007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93682128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72"/>
            <a:ext cx="1828800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2400" y="1047772"/>
            <a:ext cx="1828800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2800" y="1047772"/>
            <a:ext cx="1828800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83200" y="1047772"/>
            <a:ext cx="1828800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00" y="3938544"/>
            <a:ext cx="1828800" cy="323165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2582400" y="3938544"/>
            <a:ext cx="1828800" cy="323165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732800" y="3938544"/>
            <a:ext cx="1828800" cy="323165"/>
          </a:xfrm>
          <a:solidFill>
            <a:srgbClr val="46B3C7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42"/>
          </p:nvPr>
        </p:nvSpPr>
        <p:spPr>
          <a:xfrm>
            <a:off x="6883200" y="3938544"/>
            <a:ext cx="1828800" cy="323165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110468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344" y="1047772"/>
            <a:ext cx="249631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047772"/>
            <a:ext cx="249631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047772"/>
            <a:ext cx="249631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344" y="3938544"/>
            <a:ext cx="2496312" cy="323165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3938544"/>
            <a:ext cx="2496312" cy="323165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3938544"/>
            <a:ext cx="2496312" cy="323165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11915866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72"/>
            <a:ext cx="406799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047772"/>
            <a:ext cx="4067991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3924425"/>
            <a:ext cx="4066772" cy="323165"/>
          </a:xfrm>
          <a:solidFill>
            <a:srgbClr val="0065A4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69" y="3924425"/>
            <a:ext cx="4066771" cy="323165"/>
          </a:xfrm>
          <a:solidFill>
            <a:srgbClr val="00B0F0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76689237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5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2400" y="1047755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2800" y="1047755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83200" y="1047755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32000" y="2708046"/>
            <a:ext cx="1831086" cy="323165"/>
          </a:xfrm>
          <a:solidFill>
            <a:srgbClr val="0065A4"/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582400" y="2708046"/>
            <a:ext cx="1831086" cy="323165"/>
          </a:xfrm>
          <a:solidFill>
            <a:srgbClr val="00B0F0"/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730514" y="2708046"/>
            <a:ext cx="1831086" cy="323165"/>
          </a:xfrm>
          <a:solidFill>
            <a:srgbClr val="8DB74A"/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880914" y="2708046"/>
            <a:ext cx="1831086" cy="323165"/>
          </a:xfrm>
          <a:solidFill>
            <a:srgbClr val="9C9B9F"/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81220" y="3165680"/>
            <a:ext cx="1828800" cy="1457824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3165680"/>
            <a:ext cx="1828800" cy="1457824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42" hasCustomPrompt="1"/>
          </p:nvPr>
        </p:nvSpPr>
        <p:spPr>
          <a:xfrm>
            <a:off x="6865236" y="3165680"/>
            <a:ext cx="1828800" cy="1457824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43" hasCustomPrompt="1"/>
          </p:nvPr>
        </p:nvSpPr>
        <p:spPr>
          <a:xfrm>
            <a:off x="4716016" y="3165680"/>
            <a:ext cx="1828800" cy="1457824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417624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1047755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047755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047755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707881"/>
            <a:ext cx="2496312" cy="323165"/>
          </a:xfrm>
          <a:solidFill>
            <a:srgbClr val="0065A4"/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707881"/>
            <a:ext cx="2496312" cy="323165"/>
          </a:xfrm>
          <a:solidFill>
            <a:srgbClr val="00B0F0"/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707881"/>
            <a:ext cx="2496312" cy="323165"/>
          </a:xfrm>
          <a:solidFill>
            <a:srgbClr val="8DB74A"/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32000" y="3111687"/>
            <a:ext cx="2483816" cy="145828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3323844" y="3111687"/>
            <a:ext cx="2483816" cy="145828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42" hasCustomPrompt="1"/>
          </p:nvPr>
        </p:nvSpPr>
        <p:spPr>
          <a:xfrm>
            <a:off x="6216784" y="3111687"/>
            <a:ext cx="2483816" cy="145828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28594" indent="-114297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3pPr>
            <a:lvl4pPr marL="400040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4pPr>
            <a:lvl5pPr marL="571486" indent="-171446">
              <a:buClr>
                <a:schemeClr val="accent3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16721414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5"/>
            <a:ext cx="406799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047755"/>
            <a:ext cx="4067991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432076" y="3159253"/>
            <a:ext cx="4066772" cy="127730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latin typeface="Calibri" panose="020F0502020204030204" pitchFamily="34" charset="0"/>
              </a:defRPr>
            </a:lvl1pPr>
            <a:lvl2pPr marL="128588" indent="-128588"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57175" indent="-128588">
              <a:defRPr sz="1100">
                <a:latin typeface="Calibri" panose="020F0502020204030204" pitchFamily="34" charset="0"/>
              </a:defRPr>
            </a:lvl3pPr>
            <a:lvl4pPr marL="385763" indent="-128588">
              <a:defRPr sz="1100">
                <a:latin typeface="Calibri" panose="020F0502020204030204" pitchFamily="34" charset="0"/>
              </a:defRPr>
            </a:lvl4pPr>
            <a:lvl5pP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645169" y="3159253"/>
            <a:ext cx="4066771" cy="127730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latin typeface="Calibri" panose="020F0502020204030204" pitchFamily="34" charset="0"/>
              </a:defRPr>
            </a:lvl1pPr>
            <a:lvl2pPr marL="171450" indent="-171450">
              <a:buClrTx/>
              <a:buFont typeface="Wingdings" panose="05000000000000000000" pitchFamily="2" charset="2"/>
              <a:buChar char="§"/>
              <a:defRPr sz="1100">
                <a:latin typeface="Calibri" panose="020F0502020204030204" pitchFamily="34" charset="0"/>
              </a:defRPr>
            </a:lvl2pPr>
            <a:lvl3pPr marL="257175" indent="-128588">
              <a:buClr>
                <a:schemeClr val="accent4"/>
              </a:buClr>
              <a:defRPr sz="1100">
                <a:latin typeface="Calibri" panose="020F0502020204030204" pitchFamily="34" charset="0"/>
              </a:defRPr>
            </a:lvl3pPr>
            <a:lvl4pPr marL="385763" indent="-128588">
              <a:buClr>
                <a:schemeClr val="accent4"/>
              </a:buClr>
              <a:defRPr sz="1100">
                <a:latin typeface="Calibri" panose="020F0502020204030204" pitchFamily="34" charset="0"/>
              </a:defRPr>
            </a:lvl4pPr>
            <a:lvl5pPr>
              <a:buClr>
                <a:schemeClr val="accent4"/>
              </a:buClr>
              <a:defRPr sz="11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2711313"/>
            <a:ext cx="4066772" cy="323165"/>
          </a:xfrm>
          <a:solidFill>
            <a:srgbClr val="0065A4"/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69" y="2711313"/>
            <a:ext cx="4066771" cy="323165"/>
          </a:xfrm>
          <a:solidFill>
            <a:srgbClr val="8DB74A"/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21621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72"/>
            <a:ext cx="406799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047772"/>
            <a:ext cx="4067991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3702751"/>
            <a:ext cx="4066772" cy="544765"/>
          </a:xfrm>
          <a:solidFill>
            <a:srgbClr val="0065A4"/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69" y="3702751"/>
            <a:ext cx="4066771" cy="544765"/>
          </a:xfrm>
          <a:solidFill>
            <a:srgbClr val="8DB74A"/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305"/>
            <a:ext cx="8280000" cy="613171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95407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65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65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73341382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22984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1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52" y="1229843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612783" y="122984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3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409680" y="1229843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4794025" y="122984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5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5590946" y="1229843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75267" y="122984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7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7772169" y="1229843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36516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9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52" y="2365177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612783" y="236516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1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3409680" y="2365177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2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94025" y="236516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3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5590946" y="2365177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975267" y="236516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5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7772169" y="2365177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6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0047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7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228452" y="3500497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8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2612783" y="350047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9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3409680" y="3500497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0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794025" y="350047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1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5590946" y="3500497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2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975267" y="350047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3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7772169" y="3500497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491663215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22984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7" y="1229843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22984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5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069975" y="1229843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22984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911512" y="1229843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36516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9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7" y="2365177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36516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7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069975" y="2365177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8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36516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0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6911512" y="2365177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0047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228437" y="3500497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70244" y="350047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069975" y="3500497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108947" y="35004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6911512" y="3500497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786548026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22984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7" y="1230193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22984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069975" y="1230193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22984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911512" y="1230193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14933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7" y="2915284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914933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069975" y="2915284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91493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6911512" y="2915284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164567040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229842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721538" y="1230193"/>
            <a:ext cx="2669009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709852" y="1229842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6002681" y="1230193"/>
            <a:ext cx="2669009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14951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721538" y="2915284"/>
            <a:ext cx="2669009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709852" y="2914951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6002681" y="2915284"/>
            <a:ext cx="2669009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657422668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84058" y="1229843"/>
            <a:ext cx="1400400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431557" y="2442766"/>
            <a:ext cx="2532703" cy="180241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 algn="l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822976" y="1229843"/>
            <a:ext cx="1400400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270843" y="2442766"/>
            <a:ext cx="2532703" cy="180241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 algn="l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661473" y="1229843"/>
            <a:ext cx="1400400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108972" y="2442766"/>
            <a:ext cx="2532703" cy="180241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 algn="l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487875490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758143" y="1229843"/>
            <a:ext cx="1400400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39452" y="2442766"/>
            <a:ext cx="1802967" cy="180241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 algn="l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861056" y="1229843"/>
            <a:ext cx="1400400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2642365" y="2442766"/>
            <a:ext cx="1802967" cy="180241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 algn="l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4963934" y="1229843"/>
            <a:ext cx="1400400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4745243" y="2442766"/>
            <a:ext cx="1802967" cy="180241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 algn="l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066842" y="1229843"/>
            <a:ext cx="1400400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6848151" y="2442766"/>
            <a:ext cx="1802967" cy="180241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latin typeface="Calibri" panose="020F0502020204030204" pitchFamily="34" charset="0"/>
              </a:defRPr>
            </a:lvl2pPr>
            <a:lvl3pPr marL="0" indent="0" algn="l">
              <a:lnSpc>
                <a:spcPct val="100000"/>
              </a:lnSpc>
              <a:buNone/>
              <a:defRPr sz="1100">
                <a:latin typeface="Calibri" panose="020F0502020204030204" pitchFamily="34" charset="0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251615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51587"/>
            <a:ext cx="1874440" cy="265176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484564" y="951587"/>
            <a:ext cx="1976081" cy="2651760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12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2pPr>
            <a:lvl3pPr marL="113110" indent="-113110">
              <a:buClrTx/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3pPr>
            <a:lvl4pPr marL="301229" indent="-155972">
              <a:defRPr sz="12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4pPr>
            <a:lvl5pPr marL="571486" indent="-171446">
              <a:defRPr sz="12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32001" y="3735442"/>
            <a:ext cx="4028640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1pPr>
            <a:lvl2pPr marL="114297" indent="-114297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93479" y="3735442"/>
            <a:ext cx="4018521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1pPr>
            <a:lvl2pPr marL="114297" indent="-114297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82068" y="951587"/>
            <a:ext cx="1874440" cy="265176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734634" y="951587"/>
            <a:ext cx="1976081" cy="2651760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12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2pPr>
            <a:lvl3pPr marL="113110" indent="-113110">
              <a:buClrTx/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3pPr>
            <a:lvl4pPr marL="301229" indent="-155972">
              <a:defRPr sz="12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4pPr>
            <a:lvl5pPr marL="571486" indent="-171446">
              <a:defRPr sz="12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094460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17460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"/>
            <a:ext cx="9144000" cy="51423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3539913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2"/>
            <a:ext cx="9144000" cy="51423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32000" y="210133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7935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968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6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26961681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60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6615" indent="0">
              <a:buNone/>
              <a:defRPr sz="2000" b="1"/>
            </a:lvl2pPr>
            <a:lvl3pPr marL="913227" indent="0">
              <a:buNone/>
              <a:defRPr sz="1800" b="1"/>
            </a:lvl3pPr>
            <a:lvl4pPr marL="1369838" indent="0">
              <a:buNone/>
              <a:defRPr sz="1600" b="1"/>
            </a:lvl4pPr>
            <a:lvl5pPr marL="1826451" indent="0">
              <a:buNone/>
              <a:defRPr sz="1600" b="1"/>
            </a:lvl5pPr>
            <a:lvl6pPr marL="2283065" indent="0">
              <a:buNone/>
              <a:defRPr sz="1600" b="1"/>
            </a:lvl6pPr>
            <a:lvl7pPr marL="2739682" indent="0">
              <a:buNone/>
              <a:defRPr sz="1600" b="1"/>
            </a:lvl7pPr>
            <a:lvl8pPr marL="3196292" indent="0">
              <a:buNone/>
              <a:defRPr sz="1600" b="1"/>
            </a:lvl8pPr>
            <a:lvl9pPr marL="3652906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66" y="802660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6615" indent="0">
              <a:buNone/>
              <a:defRPr sz="2000" b="1"/>
            </a:lvl2pPr>
            <a:lvl3pPr marL="913227" indent="0">
              <a:buNone/>
              <a:defRPr sz="1800" b="1"/>
            </a:lvl3pPr>
            <a:lvl4pPr marL="1369838" indent="0">
              <a:buNone/>
              <a:defRPr sz="1600" b="1"/>
            </a:lvl4pPr>
            <a:lvl5pPr marL="1826451" indent="0">
              <a:buNone/>
              <a:defRPr sz="1600" b="1"/>
            </a:lvl5pPr>
            <a:lvl6pPr marL="2283065" indent="0">
              <a:buNone/>
              <a:defRPr sz="1600" b="1"/>
            </a:lvl6pPr>
            <a:lvl7pPr marL="2739682" indent="0">
              <a:buNone/>
              <a:defRPr sz="1600" b="1"/>
            </a:lvl7pPr>
            <a:lvl8pPr marL="3196292" indent="0">
              <a:buNone/>
              <a:defRPr sz="1600" b="1"/>
            </a:lvl8pPr>
            <a:lvl9pPr marL="3652906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66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536094753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"/>
            <a:ext cx="9144000" cy="51423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</a:pPr>
            <a:endParaRPr lang="en-IN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854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2 - inn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545" y="3025610"/>
            <a:ext cx="6480719" cy="7882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Your Sub headline will g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599642"/>
            <a:ext cx="6480720" cy="14259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</a:t>
            </a:r>
          </a:p>
          <a:p>
            <a:pPr lvl="0"/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4941263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095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8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4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8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801438097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8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51" y="789671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79490940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88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137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60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20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980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640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30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396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621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28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8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882728571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65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65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8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504616057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60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6604" indent="0">
              <a:buNone/>
              <a:defRPr sz="2000" b="1"/>
            </a:lvl2pPr>
            <a:lvl3pPr marL="913204" indent="0">
              <a:buNone/>
              <a:defRPr sz="1800" b="1"/>
            </a:lvl3pPr>
            <a:lvl4pPr marL="1369804" indent="0">
              <a:buNone/>
              <a:defRPr sz="1600" b="1"/>
            </a:lvl4pPr>
            <a:lvl5pPr marL="1826405" indent="0">
              <a:buNone/>
              <a:defRPr sz="1600" b="1"/>
            </a:lvl5pPr>
            <a:lvl6pPr marL="2283008" indent="0">
              <a:buNone/>
              <a:defRPr sz="1600" b="1"/>
            </a:lvl6pPr>
            <a:lvl7pPr marL="2739614" indent="0">
              <a:buNone/>
              <a:defRPr sz="1600" b="1"/>
            </a:lvl7pPr>
            <a:lvl8pPr marL="3196212" indent="0">
              <a:buNone/>
              <a:defRPr sz="1600" b="1"/>
            </a:lvl8pPr>
            <a:lvl9pPr marL="3652815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92" y="802660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6604" indent="0">
              <a:buNone/>
              <a:defRPr sz="2000" b="1"/>
            </a:lvl2pPr>
            <a:lvl3pPr marL="913204" indent="0">
              <a:buNone/>
              <a:defRPr sz="1800" b="1"/>
            </a:lvl3pPr>
            <a:lvl4pPr marL="1369804" indent="0">
              <a:buNone/>
              <a:defRPr sz="1600" b="1"/>
            </a:lvl4pPr>
            <a:lvl5pPr marL="1826405" indent="0">
              <a:buNone/>
              <a:defRPr sz="1600" b="1"/>
            </a:lvl5pPr>
            <a:lvl6pPr marL="2283008" indent="0">
              <a:buNone/>
              <a:defRPr sz="1600" b="1"/>
            </a:lvl6pPr>
            <a:lvl7pPr marL="2739614" indent="0">
              <a:buNone/>
              <a:defRPr sz="1600" b="1"/>
            </a:lvl7pPr>
            <a:lvl8pPr marL="3196212" indent="0">
              <a:buNone/>
              <a:defRPr sz="1600" b="1"/>
            </a:lvl8pPr>
            <a:lvl9pPr marL="3652815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92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8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386881768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8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117075369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8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630907840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3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6604" indent="0">
              <a:buNone/>
              <a:defRPr sz="2800"/>
            </a:lvl2pPr>
            <a:lvl3pPr marL="913204" indent="0">
              <a:buNone/>
              <a:defRPr sz="2400"/>
            </a:lvl3pPr>
            <a:lvl4pPr marL="1369804" indent="0">
              <a:buNone/>
              <a:defRPr sz="2000"/>
            </a:lvl4pPr>
            <a:lvl5pPr marL="1826405" indent="0">
              <a:buNone/>
              <a:defRPr sz="2000"/>
            </a:lvl5pPr>
            <a:lvl6pPr marL="2283008" indent="0">
              <a:buNone/>
              <a:defRPr sz="2000"/>
            </a:lvl6pPr>
            <a:lvl7pPr marL="2739614" indent="0">
              <a:buNone/>
              <a:defRPr sz="2000"/>
            </a:lvl7pPr>
            <a:lvl8pPr marL="3196212" indent="0">
              <a:buNone/>
              <a:defRPr sz="2000"/>
            </a:lvl8pPr>
            <a:lvl9pPr marL="3652815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739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6604" indent="0">
              <a:buNone/>
              <a:defRPr sz="1200"/>
            </a:lvl2pPr>
            <a:lvl3pPr marL="913204" indent="0">
              <a:buNone/>
              <a:defRPr sz="1000"/>
            </a:lvl3pPr>
            <a:lvl4pPr marL="1369804" indent="0">
              <a:buNone/>
              <a:defRPr sz="900"/>
            </a:lvl4pPr>
            <a:lvl5pPr marL="1826405" indent="0">
              <a:buNone/>
              <a:defRPr sz="900"/>
            </a:lvl5pPr>
            <a:lvl6pPr marL="2283008" indent="0">
              <a:buNone/>
              <a:defRPr sz="900"/>
            </a:lvl6pPr>
            <a:lvl7pPr marL="2739614" indent="0">
              <a:buNone/>
              <a:defRPr sz="900"/>
            </a:lvl7pPr>
            <a:lvl8pPr marL="3196212" indent="0">
              <a:buNone/>
              <a:defRPr sz="900"/>
            </a:lvl8pPr>
            <a:lvl9pPr marL="365281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8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6202181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681729717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012" y="840444"/>
            <a:ext cx="9155013" cy="3678869"/>
          </a:xfrm>
          <a:prstGeom prst="rect">
            <a:avLst/>
          </a:prstGeom>
        </p:spPr>
      </p:pic>
      <p:pic>
        <p:nvPicPr>
          <p:cNvPr id="5" name="Picture 2" descr="F:\InfoCepts_logo\InfoCepts Logo_Blue_PNG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560" y="333828"/>
            <a:ext cx="2304256" cy="163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1491630"/>
            <a:ext cx="6851104" cy="1537878"/>
          </a:xfrm>
        </p:spPr>
        <p:txBody>
          <a:bodyPr anchor="ctr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35696" y="3036355"/>
            <a:ext cx="6851104" cy="561510"/>
          </a:xfrm>
        </p:spPr>
        <p:txBody>
          <a:bodyPr anchor="ctr">
            <a:normAutofit/>
          </a:bodyPr>
          <a:lstStyle>
            <a:lvl1pPr marL="0" indent="0" algn="r">
              <a:buNone/>
              <a:defRPr sz="24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3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7AFA92AE-28E3-46A0-8A39-E1FE39F97CEA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52400" y="4761979"/>
            <a:ext cx="2448272" cy="307775"/>
          </a:xfrm>
          <a:prstGeom prst="rect">
            <a:avLst/>
          </a:prstGeom>
          <a:noFill/>
        </p:spPr>
        <p:txBody>
          <a:bodyPr wrap="square" lIns="91438" tIns="45719" rIns="91438" bIns="45719" rtlCol="0" anchor="b">
            <a:spAutoFit/>
          </a:bodyPr>
          <a:lstStyle/>
          <a:p>
            <a:r>
              <a:rPr lang="en-IN" sz="1400" dirty="0">
                <a:solidFill>
                  <a:prstClr val="black">
                    <a:lumMod val="50000"/>
                    <a:lumOff val="50000"/>
                  </a:prstClr>
                </a:solidFill>
                <a:cs typeface="Calibri" pitchFamily="34" charset="0"/>
              </a:rPr>
              <a:t>www.infocepts.com</a:t>
            </a:r>
          </a:p>
        </p:txBody>
      </p:sp>
    </p:spTree>
    <p:extLst>
      <p:ext uri="{BB962C8B-B14F-4D97-AF65-F5344CB8AC3E}">
        <p14:creationId xmlns:p14="http://schemas.microsoft.com/office/powerpoint/2010/main" val="3269476453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gradFill>
          <a:gsLst>
            <a:gs pos="0">
              <a:schemeClr val="accent1"/>
            </a:gs>
            <a:gs pos="100000">
              <a:schemeClr val="accent5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5"/>
            <a:ext cx="9144000" cy="51423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55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6131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2953149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094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6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557800771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51" y="789670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09401403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88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137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61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2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983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64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306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3968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629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29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807437089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65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65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654581601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60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6615" indent="0">
              <a:buNone/>
              <a:defRPr sz="2000" b="1"/>
            </a:lvl2pPr>
            <a:lvl3pPr marL="913227" indent="0">
              <a:buNone/>
              <a:defRPr sz="1800" b="1"/>
            </a:lvl3pPr>
            <a:lvl4pPr marL="1369838" indent="0">
              <a:buNone/>
              <a:defRPr sz="1600" b="1"/>
            </a:lvl4pPr>
            <a:lvl5pPr marL="1826451" indent="0">
              <a:buNone/>
              <a:defRPr sz="1600" b="1"/>
            </a:lvl5pPr>
            <a:lvl6pPr marL="2283065" indent="0">
              <a:buNone/>
              <a:defRPr sz="1600" b="1"/>
            </a:lvl6pPr>
            <a:lvl7pPr marL="2739682" indent="0">
              <a:buNone/>
              <a:defRPr sz="1600" b="1"/>
            </a:lvl7pPr>
            <a:lvl8pPr marL="3196292" indent="0">
              <a:buNone/>
              <a:defRPr sz="1600" b="1"/>
            </a:lvl8pPr>
            <a:lvl9pPr marL="3652906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66" y="802660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6615" indent="0">
              <a:buNone/>
              <a:defRPr sz="2000" b="1"/>
            </a:lvl2pPr>
            <a:lvl3pPr marL="913227" indent="0">
              <a:buNone/>
              <a:defRPr sz="1800" b="1"/>
            </a:lvl3pPr>
            <a:lvl4pPr marL="1369838" indent="0">
              <a:buNone/>
              <a:defRPr sz="1600" b="1"/>
            </a:lvl4pPr>
            <a:lvl5pPr marL="1826451" indent="0">
              <a:buNone/>
              <a:defRPr sz="1600" b="1"/>
            </a:lvl5pPr>
            <a:lvl6pPr marL="2283065" indent="0">
              <a:buNone/>
              <a:defRPr sz="1600" b="1"/>
            </a:lvl6pPr>
            <a:lvl7pPr marL="2739682" indent="0">
              <a:buNone/>
              <a:defRPr sz="1600" b="1"/>
            </a:lvl7pPr>
            <a:lvl8pPr marL="3196292" indent="0">
              <a:buNone/>
              <a:defRPr sz="1600" b="1"/>
            </a:lvl8pPr>
            <a:lvl9pPr marL="3652906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66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368640826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204739649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084095220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3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6615" indent="0">
              <a:buNone/>
              <a:defRPr sz="2800"/>
            </a:lvl2pPr>
            <a:lvl3pPr marL="913227" indent="0">
              <a:buNone/>
              <a:defRPr sz="2400"/>
            </a:lvl3pPr>
            <a:lvl4pPr marL="1369838" indent="0">
              <a:buNone/>
              <a:defRPr sz="2000"/>
            </a:lvl4pPr>
            <a:lvl5pPr marL="1826451" indent="0">
              <a:buNone/>
              <a:defRPr sz="2000"/>
            </a:lvl5pPr>
            <a:lvl6pPr marL="2283065" indent="0">
              <a:buNone/>
              <a:defRPr sz="2000"/>
            </a:lvl6pPr>
            <a:lvl7pPr marL="2739682" indent="0">
              <a:buNone/>
              <a:defRPr sz="2000"/>
            </a:lvl7pPr>
            <a:lvl8pPr marL="3196292" indent="0">
              <a:buNone/>
              <a:defRPr sz="2000"/>
            </a:lvl8pPr>
            <a:lvl9pPr marL="3652906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73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6615" indent="0">
              <a:buNone/>
              <a:defRPr sz="1200"/>
            </a:lvl2pPr>
            <a:lvl3pPr marL="913227" indent="0">
              <a:buNone/>
              <a:defRPr sz="1000"/>
            </a:lvl3pPr>
            <a:lvl4pPr marL="1369838" indent="0">
              <a:buNone/>
              <a:defRPr sz="900"/>
            </a:lvl4pPr>
            <a:lvl5pPr marL="1826451" indent="0">
              <a:buNone/>
              <a:defRPr sz="900"/>
            </a:lvl5pPr>
            <a:lvl6pPr marL="2283065" indent="0">
              <a:buNone/>
              <a:defRPr sz="900"/>
            </a:lvl6pPr>
            <a:lvl7pPr marL="2739682" indent="0">
              <a:buNone/>
              <a:defRPr sz="900"/>
            </a:lvl7pPr>
            <a:lvl8pPr marL="3196292" indent="0">
              <a:buNone/>
              <a:defRPr sz="900"/>
            </a:lvl8pPr>
            <a:lvl9pPr marL="365290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4131781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704882189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1491632"/>
            <a:ext cx="6851104" cy="1537878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35696" y="3036355"/>
            <a:ext cx="6851104" cy="56151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613577281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012" y="840444"/>
            <a:ext cx="9155013" cy="3678869"/>
          </a:xfrm>
          <a:prstGeom prst="rect">
            <a:avLst/>
          </a:prstGeom>
        </p:spPr>
      </p:pic>
      <p:pic>
        <p:nvPicPr>
          <p:cNvPr id="5" name="Picture 2" descr="F:\InfoCepts_logo\InfoCepts Logo_Blue_PNG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560" y="333827"/>
            <a:ext cx="2304256" cy="163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1491630"/>
            <a:ext cx="6851104" cy="1537878"/>
          </a:xfrm>
        </p:spPr>
        <p:txBody>
          <a:bodyPr anchor="ctr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35696" y="3036355"/>
            <a:ext cx="6851104" cy="561510"/>
          </a:xfrm>
        </p:spPr>
        <p:txBody>
          <a:bodyPr anchor="ctr">
            <a:normAutofit/>
          </a:bodyPr>
          <a:lstStyle>
            <a:lvl1pPr marL="0" indent="0" algn="r">
              <a:buNone/>
              <a:defRPr sz="24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7AFA92AE-28E3-46A0-8A39-E1FE39F97CEA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52400" y="4761976"/>
            <a:ext cx="2448272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IN" sz="1400" dirty="0">
                <a:solidFill>
                  <a:prstClr val="black">
                    <a:lumMod val="50000"/>
                    <a:lumOff val="50000"/>
                  </a:prstClr>
                </a:solidFill>
                <a:cs typeface="Calibri" pitchFamily="34" charset="0"/>
              </a:rPr>
              <a:t>www.infocepts.com</a:t>
            </a:r>
          </a:p>
        </p:txBody>
      </p:sp>
    </p:spTree>
    <p:extLst>
      <p:ext uri="{BB962C8B-B14F-4D97-AF65-F5344CB8AC3E}">
        <p14:creationId xmlns:p14="http://schemas.microsoft.com/office/powerpoint/2010/main" val="149731738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012" y="840444"/>
            <a:ext cx="9155013" cy="3678869"/>
          </a:xfrm>
          <a:prstGeom prst="rect">
            <a:avLst/>
          </a:prstGeom>
        </p:spPr>
      </p:pic>
      <p:pic>
        <p:nvPicPr>
          <p:cNvPr id="5" name="Picture 2" descr="F:\InfoCepts_logo\InfoCepts Logo_Blue_PNG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560" y="333781"/>
            <a:ext cx="2304256" cy="163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1491630"/>
            <a:ext cx="7308304" cy="1537878"/>
          </a:xfrm>
        </p:spPr>
        <p:txBody>
          <a:bodyPr anchor="ctr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35696" y="3036355"/>
            <a:ext cx="7308304" cy="561510"/>
          </a:xfrm>
        </p:spPr>
        <p:txBody>
          <a:bodyPr anchor="ctr">
            <a:normAutofit/>
          </a:bodyPr>
          <a:lstStyle>
            <a:lvl1pPr marL="0" indent="0" algn="r">
              <a:buNone/>
              <a:defRPr sz="24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52400" y="4761930"/>
            <a:ext cx="2448272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IN" sz="1400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</p:spTree>
    <p:extLst>
      <p:ext uri="{BB962C8B-B14F-4D97-AF65-F5344CB8AC3E}">
        <p14:creationId xmlns:p14="http://schemas.microsoft.com/office/powerpoint/2010/main" val="27406368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843620"/>
            <a:ext cx="9144000" cy="3499841"/>
            <a:chOff x="0" y="1124744"/>
            <a:chExt cx="9144000" cy="4896545"/>
          </a:xfrm>
        </p:grpSpPr>
        <p:sp>
          <p:nvSpPr>
            <p:cNvPr id="11" name="Rectangle 10"/>
            <p:cNvSpPr/>
            <p:nvPr/>
          </p:nvSpPr>
          <p:spPr>
            <a:xfrm>
              <a:off x="0" y="1124745"/>
              <a:ext cx="9144000" cy="4896544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prstClr val="white"/>
                </a:solidFill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789" r="39342" b="11228"/>
            <a:stretch/>
          </p:blipFill>
          <p:spPr>
            <a:xfrm>
              <a:off x="3359" y="1124744"/>
              <a:ext cx="5648761" cy="4896545"/>
            </a:xfrm>
            <a:prstGeom prst="rect">
              <a:avLst/>
            </a:prstGeom>
          </p:spPr>
        </p:pic>
      </p:grpSp>
      <p:pic>
        <p:nvPicPr>
          <p:cNvPr id="5" name="Picture 2" descr="F:\InfoCepts_logo\InfoCepts Logo_Blue_PNG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560" y="333781"/>
            <a:ext cx="2304256" cy="163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152400" y="4667298"/>
            <a:ext cx="2448272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IN" sz="1400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1491630"/>
            <a:ext cx="7308304" cy="1537878"/>
          </a:xfrm>
        </p:spPr>
        <p:txBody>
          <a:bodyPr anchor="ctr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35696" y="3036355"/>
            <a:ext cx="7308304" cy="561510"/>
          </a:xfrm>
        </p:spPr>
        <p:txBody>
          <a:bodyPr anchor="ctr">
            <a:normAutofit/>
          </a:bodyPr>
          <a:lstStyle>
            <a:lvl1pPr marL="0" indent="0" algn="r">
              <a:buNone/>
              <a:defRPr sz="24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4245040950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843559"/>
            <a:ext cx="9144000" cy="3672408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IN" b="0" dirty="0">
              <a:solidFill>
                <a:prstClr val="white"/>
              </a:solidFill>
            </a:endParaRPr>
          </a:p>
        </p:txBody>
      </p:sp>
      <p:pic>
        <p:nvPicPr>
          <p:cNvPr id="5" name="Picture 2" descr="F:\InfoCepts_logo\InfoCepts Logo_Blue_PNG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560" y="333781"/>
            <a:ext cx="2304256" cy="163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2057400"/>
            <a:ext cx="6393904" cy="1537878"/>
          </a:xfrm>
        </p:spPr>
        <p:txBody>
          <a:bodyPr anchor="ctr"/>
          <a:lstStyle>
            <a:lvl1pPr algn="r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</a:t>
            </a:r>
            <a:endParaRPr lang="en-IN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52400" y="4761930"/>
            <a:ext cx="2448272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IN" sz="1400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</p:spTree>
    <p:extLst>
      <p:ext uri="{BB962C8B-B14F-4D97-AF65-F5344CB8AC3E}">
        <p14:creationId xmlns:p14="http://schemas.microsoft.com/office/powerpoint/2010/main" val="2612330609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1491630"/>
            <a:ext cx="6851104" cy="1537878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35696" y="3036355"/>
            <a:ext cx="6851104" cy="56151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dirty="0">
                <a:solidFill>
                  <a:prstClr val="white"/>
                </a:solidFill>
                <a:latin typeface="Calibri"/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90759785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35696" y="1491630"/>
            <a:ext cx="6851104" cy="1537878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dirty="0">
                <a:solidFill>
                  <a:prstClr val="white"/>
                </a:solidFill>
                <a:latin typeface="Calibri"/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055970086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:\Users\alexander.c\Pictures\13929976_m.jpg"/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" y="0"/>
            <a:ext cx="9143999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2504288" y="2393529"/>
            <a:ext cx="4135426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7200" dirty="0">
                <a:solidFill>
                  <a:prstClr val="white"/>
                </a:solidFill>
                <a:effectLst>
                  <a:outerShdw blurRad="25400" dist="1270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</a:rPr>
              <a:t>Thank You</a:t>
            </a:r>
          </a:p>
        </p:txBody>
      </p:sp>
      <p:sp>
        <p:nvSpPr>
          <p:cNvPr id="9" name="Ellipse 30"/>
          <p:cNvSpPr/>
          <p:nvPr userDrawn="1"/>
        </p:nvSpPr>
        <p:spPr bwMode="auto">
          <a:xfrm>
            <a:off x="1219199" y="3186469"/>
            <a:ext cx="6705600" cy="514051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81961"/>
                </a:srgbClr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43433047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pghatekar\Downloads\stockvault-books107138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9593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-49450"/>
          <a:stretch/>
        </p:blipFill>
        <p:spPr bwMode="auto">
          <a:xfrm>
            <a:off x="13" y="843558"/>
            <a:ext cx="9143999" cy="3634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F:\InfoCepts_logo\InfoCepts Logo_Blue_PNG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560" y="333781"/>
            <a:ext cx="2304256" cy="163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40508" y="1802812"/>
            <a:ext cx="7003503" cy="1537878"/>
          </a:xfrm>
        </p:spPr>
        <p:txBody>
          <a:bodyPr anchor="ctr">
            <a:norm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lang="en-IN" sz="45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ase Studies</a:t>
            </a:r>
            <a:endParaRPr lang="en-IN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52400" y="4761930"/>
            <a:ext cx="2448272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IN" sz="1400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</p:spTree>
    <p:extLst>
      <p:ext uri="{BB962C8B-B14F-4D97-AF65-F5344CB8AC3E}">
        <p14:creationId xmlns:p14="http://schemas.microsoft.com/office/powerpoint/2010/main" val="4280641990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pghatekar\Downloads\stockvault-books126841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045"/>
          <a:stretch/>
        </p:blipFill>
        <p:spPr bwMode="auto">
          <a:xfrm>
            <a:off x="0" y="843560"/>
            <a:ext cx="9144000" cy="4014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F:\InfoCepts_logo\InfoCepts Logo_Blue_PNG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560" y="333781"/>
            <a:ext cx="2304256" cy="163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40496" y="1491630"/>
            <a:ext cx="6851104" cy="1537878"/>
          </a:xfrm>
        </p:spPr>
        <p:txBody>
          <a:bodyPr anchor="ctr">
            <a:norm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lang="en-IN" sz="45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ase Studies</a:t>
            </a:r>
            <a:endParaRPr lang="en-IN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52400" y="4761930"/>
            <a:ext cx="2448272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IN" sz="1400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</p:spTree>
    <p:extLst>
      <p:ext uri="{BB962C8B-B14F-4D97-AF65-F5344CB8AC3E}">
        <p14:creationId xmlns:p14="http://schemas.microsoft.com/office/powerpoint/2010/main" val="211928439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2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6615" indent="0">
              <a:buNone/>
              <a:defRPr sz="2800"/>
            </a:lvl2pPr>
            <a:lvl3pPr marL="913227" indent="0">
              <a:buNone/>
              <a:defRPr sz="2400"/>
            </a:lvl3pPr>
            <a:lvl4pPr marL="1369838" indent="0">
              <a:buNone/>
              <a:defRPr sz="2000"/>
            </a:lvl4pPr>
            <a:lvl5pPr marL="1826451" indent="0">
              <a:buNone/>
              <a:defRPr sz="2000"/>
            </a:lvl5pPr>
            <a:lvl6pPr marL="2283065" indent="0">
              <a:buNone/>
              <a:defRPr sz="2000"/>
            </a:lvl6pPr>
            <a:lvl7pPr marL="2739682" indent="0">
              <a:buNone/>
              <a:defRPr sz="2000"/>
            </a:lvl7pPr>
            <a:lvl8pPr marL="3196292" indent="0">
              <a:buNone/>
              <a:defRPr sz="2000"/>
            </a:lvl8pPr>
            <a:lvl9pPr marL="3652906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9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6615" indent="0">
              <a:buNone/>
              <a:defRPr sz="1200"/>
            </a:lvl2pPr>
            <a:lvl3pPr marL="913227" indent="0">
              <a:buNone/>
              <a:defRPr sz="1000"/>
            </a:lvl3pPr>
            <a:lvl4pPr marL="1369838" indent="0">
              <a:buNone/>
              <a:defRPr sz="900"/>
            </a:lvl4pPr>
            <a:lvl5pPr marL="1826451" indent="0">
              <a:buNone/>
              <a:defRPr sz="900"/>
            </a:lvl5pPr>
            <a:lvl6pPr marL="2283065" indent="0">
              <a:buNone/>
              <a:defRPr sz="900"/>
            </a:lvl6pPr>
            <a:lvl7pPr marL="2739682" indent="0">
              <a:buNone/>
              <a:defRPr sz="900"/>
            </a:lvl7pPr>
            <a:lvl8pPr marL="3196292" indent="0">
              <a:buNone/>
              <a:defRPr sz="900"/>
            </a:lvl8pPr>
            <a:lvl9pPr marL="365290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548332493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41480"/>
            <a:ext cx="8229600" cy="60147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43671095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-18000" y="4765458"/>
            <a:ext cx="9180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50" y="4855100"/>
            <a:ext cx="2578613" cy="198883"/>
          </a:xfrm>
          <a:prstGeom prst="rect">
            <a:avLst/>
          </a:prstGeom>
        </p:spPr>
      </p:pic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59230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457200" y="789567"/>
            <a:ext cx="8229600" cy="38967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7380316" y="4847709"/>
            <a:ext cx="1228221" cy="24622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sz="1000" b="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>
            <a:off x="8638991" y="4924625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719930" y="4873377"/>
            <a:ext cx="360040" cy="194827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1F556A1-9109-4433-A3B1-EE73519FC3C1}" type="slidenum">
              <a:rPr lang="en-IN" b="0" smtClean="0">
                <a:solidFill>
                  <a:prstClr val="white"/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IN" b="0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11799981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-18000" y="4765458"/>
            <a:ext cx="9180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50" y="4855100"/>
            <a:ext cx="2578613" cy="198883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7380316" y="4847709"/>
            <a:ext cx="1228221" cy="24622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sz="1000" b="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>
            <a:off x="8638991" y="4924625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 anchor="ctr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CB769D8-4367-4563-93CB-9000120112AB}" type="slidenum">
              <a:rPr lang="en-IN" smtClean="0">
                <a:solidFill>
                  <a:prstClr val="white"/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IN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59230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lang="en-IN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33388924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48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802648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-18000" y="4765458"/>
            <a:ext cx="9180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50" y="4855100"/>
            <a:ext cx="2578613" cy="198883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7380316" y="4847709"/>
            <a:ext cx="1228221" cy="24622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sz="1000" b="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8638991" y="4924625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 anchor="ctr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5C8282B-7D4C-4936-829E-E17EC9597686}" type="slidenum">
              <a:rPr lang="en-IN" smtClean="0">
                <a:solidFill>
                  <a:prstClr val="white"/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IN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59230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lang="en-IN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31498282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-18000" y="4765458"/>
            <a:ext cx="9180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50" y="4855100"/>
            <a:ext cx="2578613" cy="198883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7380316" y="4847709"/>
            <a:ext cx="1228221" cy="24622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sz="1000" b="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8638991" y="4924625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 anchor="ctr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48D70AA-80BE-43F2-9615-86F0B6FF3588}" type="slidenum">
              <a:rPr lang="en-IN" smtClean="0">
                <a:solidFill>
                  <a:prstClr val="white"/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IN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59230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lang="en-IN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26226137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-18000" y="4765458"/>
            <a:ext cx="9180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50" y="4855100"/>
            <a:ext cx="2578613" cy="198883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7380316" y="4847709"/>
            <a:ext cx="1228221" cy="24622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sz="1000" b="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8638991" y="4924625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 anchor="ctr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680B1C9-457D-42CC-ACD3-213971200CD1}" type="slidenum">
              <a:rPr lang="en-IN" smtClean="0">
                <a:solidFill>
                  <a:prstClr val="white"/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IN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59230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lang="en-IN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14683140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04800" y="628673"/>
            <a:ext cx="8659688" cy="3943351"/>
          </a:xfrm>
        </p:spPr>
        <p:txBody>
          <a:bodyPr anchor="b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-18000" y="4765458"/>
            <a:ext cx="9180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50" y="4855100"/>
            <a:ext cx="2578613" cy="198883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7380316" y="4847709"/>
            <a:ext cx="1228221" cy="24622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sz="1000" b="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auto">
          <a:xfrm>
            <a:off x="8638991" y="4924625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 anchor="ctr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9C5B322-8D83-4709-8CFC-C4898F951146}" type="slidenum">
              <a:rPr lang="en-IN" smtClean="0">
                <a:solidFill>
                  <a:prstClr val="white"/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IN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59230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lang="en-IN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60946792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78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-18000" y="4765458"/>
            <a:ext cx="9180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50" y="4855100"/>
            <a:ext cx="2578613" cy="198883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7380316" y="4847709"/>
            <a:ext cx="1228221" cy="24622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sz="1000" b="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4" name="Straight Connector 13"/>
          <p:cNvCxnSpPr/>
          <p:nvPr userDrawn="1"/>
        </p:nvCxnSpPr>
        <p:spPr bwMode="auto">
          <a:xfrm>
            <a:off x="8638991" y="4924625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 anchor="ctr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CD8BDEE-95F9-452A-A4B0-BE7AEEE42A45}" type="slidenum">
              <a:rPr lang="en-IN" smtClean="0">
                <a:solidFill>
                  <a:prstClr val="white"/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IN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34162246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8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-18000" y="4765458"/>
            <a:ext cx="9180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50" y="4855100"/>
            <a:ext cx="2578613" cy="198883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7380316" y="4847709"/>
            <a:ext cx="1228221" cy="24622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sz="1000" b="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8638991" y="4924625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 anchor="ctr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C1B9DE8-9BC3-4FC0-A076-89B44E999D89}" type="slidenum">
              <a:rPr lang="en-IN" smtClean="0">
                <a:solidFill>
                  <a:prstClr val="white"/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IN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9909245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7" y="1491630"/>
            <a:ext cx="6851104" cy="1537878"/>
          </a:xfrm>
        </p:spPr>
        <p:txBody>
          <a:bodyPr anchor="b"/>
          <a:lstStyle>
            <a:lvl1pPr>
              <a:defRPr sz="337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35697" y="3036354"/>
            <a:ext cx="6851104" cy="561510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298096604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1491631"/>
            <a:ext cx="6851104" cy="1537878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35696" y="3036355"/>
            <a:ext cx="6851104" cy="56151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310530762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7" y="1491630"/>
            <a:ext cx="6851104" cy="1537878"/>
          </a:xfrm>
        </p:spPr>
        <p:txBody>
          <a:bodyPr anchor="b"/>
          <a:lstStyle>
            <a:lvl1pPr>
              <a:defRPr sz="337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35697" y="3036355"/>
            <a:ext cx="6851104" cy="561510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864103014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35697" y="1491630"/>
            <a:ext cx="6851104" cy="1537878"/>
          </a:xfrm>
        </p:spPr>
        <p:txBody>
          <a:bodyPr anchor="b"/>
          <a:lstStyle>
            <a:lvl1pPr>
              <a:defRPr sz="337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87948221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35697" y="1491630"/>
            <a:ext cx="6851104" cy="1537878"/>
          </a:xfrm>
        </p:spPr>
        <p:txBody>
          <a:bodyPr anchor="b"/>
          <a:lstStyle>
            <a:lvl1pPr>
              <a:defRPr sz="337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54868375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33150642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69368374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1189312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962246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31540" y="1189312"/>
            <a:ext cx="4068452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/>
          </p:nvPr>
        </p:nvSpPr>
        <p:spPr>
          <a:xfrm>
            <a:off x="4644008" y="1189312"/>
            <a:ext cx="4068452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70550294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5806978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7994623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7200" y="1200150"/>
            <a:ext cx="18288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362200" y="1200150"/>
            <a:ext cx="18288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267200" y="1200150"/>
            <a:ext cx="18288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72200" y="1200150"/>
            <a:ext cx="18288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07207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2" y="1597968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12" y="2914650"/>
            <a:ext cx="6400801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4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8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25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16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09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251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79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335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7" y="4894015"/>
            <a:ext cx="360040" cy="193724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915150137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6088067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286762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73524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0286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564893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286762" y="2564893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573524" y="2564893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860286" y="2564893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11125711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828229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656457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484686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312914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171107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828229" y="171107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656457" y="171107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484686" y="171107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312914" y="171107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3422143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828229" y="3422143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3656457" y="3422143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484686" y="3422143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312914" y="3422143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74828065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521562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043124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564685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607808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086247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521562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3043124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564685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1521562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3043124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564685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7607808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086247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1521562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043124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4564685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607808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6086247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3234726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2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1220" y="1047752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0440" y="1047752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79660" y="1047752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8122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73932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7966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1430214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763196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03652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203652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1203652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9729830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15566"/>
            <a:ext cx="4067992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915566"/>
            <a:ext cx="4067991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44008" y="2643759"/>
            <a:ext cx="40680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2643759"/>
            <a:ext cx="40680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108532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03599"/>
            <a:ext cx="4067992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203599"/>
            <a:ext cx="4067991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44008" y="2931790"/>
            <a:ext cx="40680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2931790"/>
            <a:ext cx="40680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1511090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56083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80166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04248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32000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556083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80166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804248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56083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80166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04248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45203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1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7" y="4894015"/>
            <a:ext cx="360040" cy="193724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789554"/>
            <a:ext cx="8207375" cy="35647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5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09405001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56083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80166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04248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32000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556083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80166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804248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56083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80166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04248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3443705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431540" y="242329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323844" y="242329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215688" y="242329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579863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579863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579863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6854018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2343151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10866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2099969" y="2343151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377373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3767938" y="2343151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9"/>
          </p:nvPr>
        </p:nvSpPr>
        <p:spPr>
          <a:xfrm>
            <a:off x="543880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50"/>
          </p:nvPr>
        </p:nvSpPr>
        <p:spPr>
          <a:xfrm>
            <a:off x="5435907" y="2343151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51"/>
          </p:nvPr>
        </p:nvSpPr>
        <p:spPr>
          <a:xfrm>
            <a:off x="710387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52"/>
          </p:nvPr>
        </p:nvSpPr>
        <p:spPr>
          <a:xfrm>
            <a:off x="7103878" y="2343151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9405529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10866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2099969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377373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3767938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9"/>
          </p:nvPr>
        </p:nvSpPr>
        <p:spPr>
          <a:xfrm>
            <a:off x="543880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50"/>
          </p:nvPr>
        </p:nvSpPr>
        <p:spPr>
          <a:xfrm>
            <a:off x="5435907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51"/>
          </p:nvPr>
        </p:nvSpPr>
        <p:spPr>
          <a:xfrm>
            <a:off x="710387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52"/>
          </p:nvPr>
        </p:nvSpPr>
        <p:spPr>
          <a:xfrm>
            <a:off x="7103878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5798859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61992" y="1200153"/>
            <a:ext cx="4104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4644713" y="1200153"/>
            <a:ext cx="4104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4635309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3605065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442945" y="3292476"/>
            <a:ext cx="4105275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643464" y="3292476"/>
            <a:ext cx="4105275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6"/>
            <a:ext cx="4104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4644008" y="915566"/>
            <a:ext cx="4104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4635309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1724672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42920" y="3292476"/>
            <a:ext cx="2700337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228975" y="3292476"/>
            <a:ext cx="2700338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13450" y="3292476"/>
            <a:ext cx="2700338" cy="431800"/>
          </a:xfrm>
          <a:prstGeom prst="rect">
            <a:avLst/>
          </a:prstGeom>
          <a:solidFill>
            <a:srgbClr val="1D6E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3228919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322022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6014239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6008439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9260169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42920" y="3292476"/>
            <a:ext cx="2700337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228975" y="3292476"/>
            <a:ext cx="2700338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013450" y="3292476"/>
            <a:ext cx="2700338" cy="431800"/>
          </a:xfrm>
          <a:prstGeom prst="rect">
            <a:avLst/>
          </a:prstGeom>
          <a:solidFill>
            <a:srgbClr val="1D6E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3228919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322022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6014239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6008439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5559522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0"/>
            <a:ext cx="406799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047750"/>
            <a:ext cx="4067991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3924303"/>
            <a:ext cx="4066772" cy="323165"/>
          </a:xfrm>
          <a:solidFill>
            <a:srgbClr val="0065A4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69" y="3924303"/>
            <a:ext cx="4066771" cy="323165"/>
          </a:xfrm>
          <a:solidFill>
            <a:srgbClr val="8DB74A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125995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24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28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832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32000" y="2630576"/>
            <a:ext cx="1831086" cy="507831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582400" y="2630576"/>
            <a:ext cx="1831086" cy="507831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730514" y="2630576"/>
            <a:ext cx="1831086" cy="507831"/>
          </a:xfrm>
          <a:solidFill>
            <a:srgbClr val="46B3C7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880914" y="2630576"/>
            <a:ext cx="1831086" cy="507831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432000" y="326689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24"/>
          </p:nvPr>
        </p:nvSpPr>
        <p:spPr>
          <a:xfrm>
            <a:off x="2582400" y="326689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5"/>
          </p:nvPr>
        </p:nvSpPr>
        <p:spPr>
          <a:xfrm>
            <a:off x="4730514" y="326689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6"/>
          </p:nvPr>
        </p:nvSpPr>
        <p:spPr>
          <a:xfrm>
            <a:off x="6880914" y="326689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352679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234"/>
            <a:ext cx="7772400" cy="1021557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137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419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0839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6259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1679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7099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2519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7939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3359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7" y="4894015"/>
            <a:ext cx="360040" cy="193724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114684452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823491"/>
            <a:ext cx="2496312" cy="323165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823491"/>
            <a:ext cx="2496312" cy="323165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823491"/>
            <a:ext cx="2496312" cy="323165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13"/>
          <p:cNvSpPr>
            <a:spLocks noGrp="1"/>
          </p:cNvSpPr>
          <p:nvPr>
            <p:ph sz="quarter" idx="18"/>
          </p:nvPr>
        </p:nvSpPr>
        <p:spPr>
          <a:xfrm>
            <a:off x="435540" y="3274958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Font typeface="Arial" panose="020B0604020202020204" pitchFamily="34" charset="0"/>
              <a:buChar char="•"/>
              <a:defRPr sz="1100"/>
            </a:lvl2pPr>
            <a:lvl3pPr marL="257175" indent="-128588">
              <a:defRPr sz="1100"/>
            </a:lvl3pPr>
            <a:lvl4pPr marL="385763" indent="-128588"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274958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/>
            </a:lvl2pPr>
            <a:lvl3pPr marL="257175" indent="-128588">
              <a:buClr>
                <a:schemeClr val="accent4"/>
              </a:buClr>
              <a:defRPr sz="1100"/>
            </a:lvl3pPr>
            <a:lvl4pPr marL="385763" indent="-128588">
              <a:buClr>
                <a:schemeClr val="accent4"/>
              </a:buClr>
              <a:defRPr sz="1100"/>
            </a:lvl4pPr>
            <a:lvl5pPr>
              <a:buClr>
                <a:schemeClr val="accent4"/>
              </a:buCl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0"/>
          </p:nvPr>
        </p:nvSpPr>
        <p:spPr>
          <a:xfrm>
            <a:off x="6215688" y="3274958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/>
            </a:lvl2pPr>
            <a:lvl3pPr marL="257175" indent="-128588">
              <a:buClr>
                <a:schemeClr val="accent3"/>
              </a:buClr>
              <a:defRPr sz="1100"/>
            </a:lvl3pPr>
            <a:lvl4pPr marL="385763" indent="-128588">
              <a:buClr>
                <a:schemeClr val="accent3"/>
              </a:buClr>
              <a:defRPr sz="1100"/>
            </a:lvl4pPr>
            <a:lvl5pPr>
              <a:buClr>
                <a:schemeClr val="accent3"/>
              </a:buCl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1079089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555363"/>
            <a:ext cx="2496312" cy="323165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555363"/>
            <a:ext cx="2496312" cy="323165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555363"/>
            <a:ext cx="2496312" cy="323165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394694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67596"/>
            <a:ext cx="406799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167596"/>
            <a:ext cx="4067991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2827607"/>
            <a:ext cx="4066772" cy="323165"/>
          </a:xfrm>
          <a:solidFill>
            <a:srgbClr val="0065A4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2827607"/>
            <a:ext cx="4066770" cy="323165"/>
          </a:xfrm>
          <a:solidFill>
            <a:srgbClr val="00B0F0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432076" y="3279073"/>
            <a:ext cx="4066772" cy="1277300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13"/>
          <p:cNvSpPr>
            <a:spLocks noGrp="1"/>
          </p:cNvSpPr>
          <p:nvPr>
            <p:ph sz="quarter" idx="19"/>
          </p:nvPr>
        </p:nvSpPr>
        <p:spPr>
          <a:xfrm>
            <a:off x="4645169" y="3279073"/>
            <a:ext cx="4066771" cy="1277300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2714639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1" name="Content Placeholder 13"/>
          <p:cNvSpPr>
            <a:spLocks noGrp="1"/>
          </p:cNvSpPr>
          <p:nvPr>
            <p:ph sz="quarter" idx="18"/>
          </p:nvPr>
        </p:nvSpPr>
        <p:spPr>
          <a:xfrm>
            <a:off x="1228452" y="1304378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612783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3" name="Content Placeholder 13"/>
          <p:cNvSpPr>
            <a:spLocks noGrp="1"/>
          </p:cNvSpPr>
          <p:nvPr>
            <p:ph sz="quarter" idx="20"/>
          </p:nvPr>
        </p:nvSpPr>
        <p:spPr>
          <a:xfrm>
            <a:off x="3409680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4794025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5" name="Content Placeholder 13"/>
          <p:cNvSpPr>
            <a:spLocks noGrp="1"/>
          </p:cNvSpPr>
          <p:nvPr>
            <p:ph sz="quarter" idx="22"/>
          </p:nvPr>
        </p:nvSpPr>
        <p:spPr>
          <a:xfrm>
            <a:off x="5590946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75267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7" name="Content Placeholder 13"/>
          <p:cNvSpPr>
            <a:spLocks noGrp="1"/>
          </p:cNvSpPr>
          <p:nvPr>
            <p:ph sz="quarter" idx="24"/>
          </p:nvPr>
        </p:nvSpPr>
        <p:spPr>
          <a:xfrm>
            <a:off x="7772169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3969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9" name="Content Placeholder 13"/>
          <p:cNvSpPr>
            <a:spLocks noGrp="1"/>
          </p:cNvSpPr>
          <p:nvPr>
            <p:ph sz="quarter" idx="26"/>
          </p:nvPr>
        </p:nvSpPr>
        <p:spPr>
          <a:xfrm>
            <a:off x="1228452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612783" y="243969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1" name="Content Placeholder 13"/>
          <p:cNvSpPr>
            <a:spLocks noGrp="1"/>
          </p:cNvSpPr>
          <p:nvPr>
            <p:ph sz="quarter" idx="28"/>
          </p:nvPr>
        </p:nvSpPr>
        <p:spPr>
          <a:xfrm>
            <a:off x="3409680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94025" y="243969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3" name="Content Placeholder 13"/>
          <p:cNvSpPr>
            <a:spLocks noGrp="1"/>
          </p:cNvSpPr>
          <p:nvPr>
            <p:ph sz="quarter" idx="30"/>
          </p:nvPr>
        </p:nvSpPr>
        <p:spPr>
          <a:xfrm>
            <a:off x="5590946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975267" y="243969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5" name="Content Placeholder 13"/>
          <p:cNvSpPr>
            <a:spLocks noGrp="1"/>
          </p:cNvSpPr>
          <p:nvPr>
            <p:ph sz="quarter" idx="32"/>
          </p:nvPr>
        </p:nvSpPr>
        <p:spPr>
          <a:xfrm>
            <a:off x="7772169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7" name="Content Placeholder 13"/>
          <p:cNvSpPr>
            <a:spLocks noGrp="1"/>
          </p:cNvSpPr>
          <p:nvPr>
            <p:ph sz="quarter" idx="34"/>
          </p:nvPr>
        </p:nvSpPr>
        <p:spPr>
          <a:xfrm>
            <a:off x="1228452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2612783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9" name="Content Placeholder 13"/>
          <p:cNvSpPr>
            <a:spLocks noGrp="1"/>
          </p:cNvSpPr>
          <p:nvPr>
            <p:ph sz="quarter" idx="36"/>
          </p:nvPr>
        </p:nvSpPr>
        <p:spPr>
          <a:xfrm>
            <a:off x="3409680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794025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1" name="Content Placeholder 13"/>
          <p:cNvSpPr>
            <a:spLocks noGrp="1"/>
          </p:cNvSpPr>
          <p:nvPr>
            <p:ph sz="quarter" idx="38"/>
          </p:nvPr>
        </p:nvSpPr>
        <p:spPr>
          <a:xfrm>
            <a:off x="5590946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975267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3" name="Content Placeholder 13"/>
          <p:cNvSpPr>
            <a:spLocks noGrp="1"/>
          </p:cNvSpPr>
          <p:nvPr>
            <p:ph sz="quarter" idx="40"/>
          </p:nvPr>
        </p:nvSpPr>
        <p:spPr>
          <a:xfrm>
            <a:off x="7772169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41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4448301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487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Content Placeholder 13"/>
          <p:cNvSpPr>
            <a:spLocks noGrp="1"/>
          </p:cNvSpPr>
          <p:nvPr>
            <p:ph sz="quarter" idx="18"/>
          </p:nvPr>
        </p:nvSpPr>
        <p:spPr>
          <a:xfrm>
            <a:off x="1228437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0487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5" name="Content Placeholder 13"/>
          <p:cNvSpPr>
            <a:spLocks noGrp="1"/>
          </p:cNvSpPr>
          <p:nvPr>
            <p:ph sz="quarter" idx="20"/>
          </p:nvPr>
        </p:nvSpPr>
        <p:spPr>
          <a:xfrm>
            <a:off x="4069975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0487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Content Placeholder 13"/>
          <p:cNvSpPr>
            <a:spLocks noGrp="1"/>
          </p:cNvSpPr>
          <p:nvPr>
            <p:ph sz="quarter" idx="22"/>
          </p:nvPr>
        </p:nvSpPr>
        <p:spPr>
          <a:xfrm>
            <a:off x="6911512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4018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9" name="Content Placeholder 13"/>
          <p:cNvSpPr>
            <a:spLocks noGrp="1"/>
          </p:cNvSpPr>
          <p:nvPr>
            <p:ph sz="quarter" idx="26"/>
          </p:nvPr>
        </p:nvSpPr>
        <p:spPr>
          <a:xfrm>
            <a:off x="1228437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44018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7" name="Content Placeholder 13"/>
          <p:cNvSpPr>
            <a:spLocks noGrp="1"/>
          </p:cNvSpPr>
          <p:nvPr>
            <p:ph sz="quarter" idx="28"/>
          </p:nvPr>
        </p:nvSpPr>
        <p:spPr>
          <a:xfrm>
            <a:off x="4069975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44018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0" name="Content Placeholder 13"/>
          <p:cNvSpPr>
            <a:spLocks noGrp="1"/>
          </p:cNvSpPr>
          <p:nvPr>
            <p:ph sz="quarter" idx="30"/>
          </p:nvPr>
        </p:nvSpPr>
        <p:spPr>
          <a:xfrm>
            <a:off x="6911512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7550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2" name="Content Placeholder 13"/>
          <p:cNvSpPr>
            <a:spLocks noGrp="1"/>
          </p:cNvSpPr>
          <p:nvPr>
            <p:ph sz="quarter" idx="34"/>
          </p:nvPr>
        </p:nvSpPr>
        <p:spPr>
          <a:xfrm>
            <a:off x="1228437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70244" y="357550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4" name="Content Placeholder 13"/>
          <p:cNvSpPr>
            <a:spLocks noGrp="1"/>
          </p:cNvSpPr>
          <p:nvPr>
            <p:ph sz="quarter" idx="36"/>
          </p:nvPr>
        </p:nvSpPr>
        <p:spPr>
          <a:xfrm>
            <a:off x="4069975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108947" y="3575506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6" name="Content Placeholder 13"/>
          <p:cNvSpPr>
            <a:spLocks noGrp="1"/>
          </p:cNvSpPr>
          <p:nvPr>
            <p:ph sz="quarter" idx="38"/>
          </p:nvPr>
        </p:nvSpPr>
        <p:spPr>
          <a:xfrm>
            <a:off x="6911512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9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9557882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228437" y="1302241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4069975" y="1302241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6911512" y="1302241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7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/>
          </p:nvPr>
        </p:nvSpPr>
        <p:spPr>
          <a:xfrm>
            <a:off x="1228437" y="2987326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98727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/>
          </p:nvPr>
        </p:nvSpPr>
        <p:spPr>
          <a:xfrm>
            <a:off x="4069975" y="2987326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9872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/>
          </p:nvPr>
        </p:nvSpPr>
        <p:spPr>
          <a:xfrm>
            <a:off x="6911512" y="2987326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1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0375288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721538" y="1302241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709852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6002681" y="1302241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81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/>
          </p:nvPr>
        </p:nvSpPr>
        <p:spPr>
          <a:xfrm>
            <a:off x="1721538" y="2987326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709852" y="2987281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/>
          </p:nvPr>
        </p:nvSpPr>
        <p:spPr>
          <a:xfrm>
            <a:off x="6002681" y="2987326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9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2983465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93774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5152" y="1193774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8"/>
          </p:nvPr>
        </p:nvSpPr>
        <p:spPr>
          <a:xfrm>
            <a:off x="430932" y="3674422"/>
            <a:ext cx="4067916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3674422"/>
            <a:ext cx="4065628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2000" y="2441763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45152" y="2441763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591484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79507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431557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918210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3270337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756913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6108972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8291399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39452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2642365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4745243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/>
          </p:nvPr>
        </p:nvSpPr>
        <p:spPr>
          <a:xfrm>
            <a:off x="6848151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827584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030014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7131229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928799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613114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14" y="789562"/>
            <a:ext cx="4038599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2" y="789562"/>
            <a:ext cx="4038599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7" y="4894015"/>
            <a:ext cx="360040" cy="193724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71887267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14275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1540" y="210019"/>
            <a:ext cx="828092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69359932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9065532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6576393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7677361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51" y="789579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59964211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39043593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26517582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1189312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5906641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31540" y="1189312"/>
            <a:ext cx="4068452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/>
          </p:nvPr>
        </p:nvSpPr>
        <p:spPr>
          <a:xfrm>
            <a:off x="4644008" y="1189312"/>
            <a:ext cx="4068452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816268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802660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4198" indent="0">
              <a:buNone/>
              <a:defRPr sz="2000" b="1"/>
            </a:lvl2pPr>
            <a:lvl3pPr marL="908397" indent="0">
              <a:buNone/>
              <a:defRPr sz="1800" b="1"/>
            </a:lvl3pPr>
            <a:lvl4pPr marL="1362595" indent="0">
              <a:buNone/>
              <a:defRPr sz="1500" b="1"/>
            </a:lvl4pPr>
            <a:lvl5pPr marL="1816797" indent="0">
              <a:buNone/>
              <a:defRPr sz="1500" b="1"/>
            </a:lvl5pPr>
            <a:lvl6pPr marL="2270997" indent="0">
              <a:buNone/>
              <a:defRPr sz="1500" b="1"/>
            </a:lvl6pPr>
            <a:lvl7pPr marL="2725197" indent="0">
              <a:buNone/>
              <a:defRPr sz="1500" b="1"/>
            </a:lvl7pPr>
            <a:lvl8pPr marL="3179394" indent="0">
              <a:buNone/>
              <a:defRPr sz="1500" b="1"/>
            </a:lvl8pPr>
            <a:lvl9pPr marL="3633595" indent="0">
              <a:buNone/>
              <a:defRPr sz="15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1282590"/>
            <a:ext cx="4040188" cy="296346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66" y="802660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4198" indent="0">
              <a:buNone/>
              <a:defRPr sz="2000" b="1"/>
            </a:lvl2pPr>
            <a:lvl3pPr marL="908397" indent="0">
              <a:buNone/>
              <a:defRPr sz="1800" b="1"/>
            </a:lvl3pPr>
            <a:lvl4pPr marL="1362595" indent="0">
              <a:buNone/>
              <a:defRPr sz="1500" b="1"/>
            </a:lvl4pPr>
            <a:lvl5pPr marL="1816797" indent="0">
              <a:buNone/>
              <a:defRPr sz="1500" b="1"/>
            </a:lvl5pPr>
            <a:lvl6pPr marL="2270997" indent="0">
              <a:buNone/>
              <a:defRPr sz="1500" b="1"/>
            </a:lvl6pPr>
            <a:lvl7pPr marL="2725197" indent="0">
              <a:buNone/>
              <a:defRPr sz="1500" b="1"/>
            </a:lvl7pPr>
            <a:lvl8pPr marL="3179394" indent="0">
              <a:buNone/>
              <a:defRPr sz="1500" b="1"/>
            </a:lvl8pPr>
            <a:lvl9pPr marL="3633595" indent="0">
              <a:buNone/>
              <a:defRPr sz="15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66" y="1282590"/>
            <a:ext cx="4041775" cy="296346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7" y="4894015"/>
            <a:ext cx="360040" cy="193724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230459620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5130398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8108687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7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362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267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72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92105921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667870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286762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73524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0286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286762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573524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860286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97741613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828229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656457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484686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312914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828229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656457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484686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312914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828229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3656457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484686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312914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49464441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521562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043124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564685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607808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086247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521562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3043124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564685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1521562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3043124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564685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7607808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086247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1521562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043124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4564685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607808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6086247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27635740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122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044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7966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8122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73932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7966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8053745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8343003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03641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203641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1203641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61188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/>
              <a:t>‹#›</a:t>
            </a:fld>
            <a:endParaRPr lang="en-IN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51" y="789594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3504416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7" y="4894015"/>
            <a:ext cx="360040" cy="193724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232185608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15566"/>
            <a:ext cx="4067992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915566"/>
            <a:ext cx="4067991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44008" y="2643759"/>
            <a:ext cx="40680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2643759"/>
            <a:ext cx="40680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2314597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03598"/>
            <a:ext cx="4067992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203598"/>
            <a:ext cx="4067991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44008" y="2931790"/>
            <a:ext cx="40680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2931790"/>
            <a:ext cx="40680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1568437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56083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80166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04248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32000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556083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80166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804248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56083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80166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04248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1652106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56083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80166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04248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32000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556083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80166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804248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56083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80166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04248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3443731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431540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323844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215688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579862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579862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579862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2616435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10866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2099969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377373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3767938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9"/>
          </p:nvPr>
        </p:nvSpPr>
        <p:spPr>
          <a:xfrm>
            <a:off x="543880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50"/>
          </p:nvPr>
        </p:nvSpPr>
        <p:spPr>
          <a:xfrm>
            <a:off x="5435907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51"/>
          </p:nvPr>
        </p:nvSpPr>
        <p:spPr>
          <a:xfrm>
            <a:off x="710387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52"/>
          </p:nvPr>
        </p:nvSpPr>
        <p:spPr>
          <a:xfrm>
            <a:off x="7103878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7443305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10866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2099969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377373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3767938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9"/>
          </p:nvPr>
        </p:nvSpPr>
        <p:spPr>
          <a:xfrm>
            <a:off x="543880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50"/>
          </p:nvPr>
        </p:nvSpPr>
        <p:spPr>
          <a:xfrm>
            <a:off x="5435907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51"/>
          </p:nvPr>
        </p:nvSpPr>
        <p:spPr>
          <a:xfrm>
            <a:off x="710387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52"/>
          </p:nvPr>
        </p:nvSpPr>
        <p:spPr>
          <a:xfrm>
            <a:off x="7103878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2501992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61992" y="1200150"/>
            <a:ext cx="4104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4644713" y="1200150"/>
            <a:ext cx="4104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4635309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4651515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442945" y="3292475"/>
            <a:ext cx="4105275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/>
          </a:p>
        </p:txBody>
      </p:sp>
      <p:sp>
        <p:nvSpPr>
          <p:cNvPr id="9" name="Rectangle 8"/>
          <p:cNvSpPr/>
          <p:nvPr/>
        </p:nvSpPr>
        <p:spPr>
          <a:xfrm>
            <a:off x="4643464" y="3292475"/>
            <a:ext cx="4105275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6"/>
            <a:ext cx="4104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4644008" y="915566"/>
            <a:ext cx="4104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4635309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2318929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42920" y="3292475"/>
            <a:ext cx="2700337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/>
          </a:p>
        </p:txBody>
      </p:sp>
      <p:sp>
        <p:nvSpPr>
          <p:cNvPr id="11" name="Rectangle 10"/>
          <p:cNvSpPr/>
          <p:nvPr/>
        </p:nvSpPr>
        <p:spPr>
          <a:xfrm>
            <a:off x="3228975" y="3292475"/>
            <a:ext cx="2700338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/>
          </a:p>
        </p:txBody>
      </p:sp>
      <p:sp>
        <p:nvSpPr>
          <p:cNvPr id="12" name="Rectangle 11"/>
          <p:cNvSpPr/>
          <p:nvPr/>
        </p:nvSpPr>
        <p:spPr>
          <a:xfrm>
            <a:off x="6013450" y="3292475"/>
            <a:ext cx="2700338" cy="431800"/>
          </a:xfrm>
          <a:prstGeom prst="rect">
            <a:avLst/>
          </a:prstGeom>
          <a:solidFill>
            <a:srgbClr val="1D6E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3228919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322022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6014239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6008439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394927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7" y="4894015"/>
            <a:ext cx="360040" cy="193724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684319151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42920" y="3292475"/>
            <a:ext cx="2700337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/>
          </a:p>
        </p:txBody>
      </p:sp>
      <p:sp>
        <p:nvSpPr>
          <p:cNvPr id="10" name="Rectangle 9"/>
          <p:cNvSpPr/>
          <p:nvPr/>
        </p:nvSpPr>
        <p:spPr>
          <a:xfrm>
            <a:off x="3228975" y="3292475"/>
            <a:ext cx="2700338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/>
          </a:p>
        </p:txBody>
      </p:sp>
      <p:sp>
        <p:nvSpPr>
          <p:cNvPr id="11" name="Rectangle 10"/>
          <p:cNvSpPr/>
          <p:nvPr/>
        </p:nvSpPr>
        <p:spPr>
          <a:xfrm>
            <a:off x="6013450" y="3292475"/>
            <a:ext cx="2700338" cy="431800"/>
          </a:xfrm>
          <a:prstGeom prst="rect">
            <a:avLst/>
          </a:prstGeom>
          <a:solidFill>
            <a:srgbClr val="1D6E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3228919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322022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6014239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6008439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1619832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0"/>
            <a:ext cx="406799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047750"/>
            <a:ext cx="4067991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3924231"/>
            <a:ext cx="4066772" cy="323165"/>
          </a:xfrm>
          <a:solidFill>
            <a:srgbClr val="0065A4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69" y="3924231"/>
            <a:ext cx="4066771" cy="323165"/>
          </a:xfrm>
          <a:solidFill>
            <a:srgbClr val="8DB74A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4739058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24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28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832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32000" y="2630576"/>
            <a:ext cx="1831086" cy="507831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582400" y="2630576"/>
            <a:ext cx="1831086" cy="507831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730514" y="2630576"/>
            <a:ext cx="1831086" cy="507831"/>
          </a:xfrm>
          <a:solidFill>
            <a:srgbClr val="46B3C7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880914" y="2630576"/>
            <a:ext cx="1831086" cy="507831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432000" y="326684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24"/>
          </p:nvPr>
        </p:nvSpPr>
        <p:spPr>
          <a:xfrm>
            <a:off x="2582400" y="326684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5"/>
          </p:nvPr>
        </p:nvSpPr>
        <p:spPr>
          <a:xfrm>
            <a:off x="4730514" y="326684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6"/>
          </p:nvPr>
        </p:nvSpPr>
        <p:spPr>
          <a:xfrm>
            <a:off x="6880914" y="326684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0576785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823423"/>
            <a:ext cx="2496312" cy="323165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823423"/>
            <a:ext cx="2496312" cy="323165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823423"/>
            <a:ext cx="2496312" cy="323165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13"/>
          <p:cNvSpPr>
            <a:spLocks noGrp="1"/>
          </p:cNvSpPr>
          <p:nvPr>
            <p:ph sz="quarter" idx="18"/>
          </p:nvPr>
        </p:nvSpPr>
        <p:spPr>
          <a:xfrm>
            <a:off x="435540" y="3274955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Font typeface="Arial" panose="020B0604020202020204" pitchFamily="34" charset="0"/>
              <a:buChar char="•"/>
              <a:defRPr sz="1100"/>
            </a:lvl2pPr>
            <a:lvl3pPr marL="257175" indent="-128588">
              <a:defRPr sz="1100"/>
            </a:lvl3pPr>
            <a:lvl4pPr marL="385763" indent="-128588"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274955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/>
            </a:lvl2pPr>
            <a:lvl3pPr marL="257175" indent="-128588">
              <a:buClr>
                <a:schemeClr val="accent4"/>
              </a:buClr>
              <a:defRPr sz="1100"/>
            </a:lvl3pPr>
            <a:lvl4pPr marL="385763" indent="-128588">
              <a:buClr>
                <a:schemeClr val="accent4"/>
              </a:buClr>
              <a:defRPr sz="1100"/>
            </a:lvl4pPr>
            <a:lvl5pPr>
              <a:buClr>
                <a:schemeClr val="accent4"/>
              </a:buCl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0"/>
          </p:nvPr>
        </p:nvSpPr>
        <p:spPr>
          <a:xfrm>
            <a:off x="6215688" y="3274955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/>
            </a:lvl2pPr>
            <a:lvl3pPr marL="257175" indent="-128588">
              <a:buClr>
                <a:schemeClr val="accent3"/>
              </a:buClr>
              <a:defRPr sz="1100"/>
            </a:lvl3pPr>
            <a:lvl4pPr marL="385763" indent="-128588">
              <a:buClr>
                <a:schemeClr val="accent3"/>
              </a:buClr>
              <a:defRPr sz="1100"/>
            </a:lvl4pPr>
            <a:lvl5pPr>
              <a:buClr>
                <a:schemeClr val="accent3"/>
              </a:buCl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2404795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555294"/>
            <a:ext cx="2496312" cy="323165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555294"/>
            <a:ext cx="2496312" cy="323165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555294"/>
            <a:ext cx="2496312" cy="323165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1907039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67596"/>
            <a:ext cx="406799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167596"/>
            <a:ext cx="4067991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2827538"/>
            <a:ext cx="4066772" cy="323165"/>
          </a:xfrm>
          <a:solidFill>
            <a:srgbClr val="0065A4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2827538"/>
            <a:ext cx="4066770" cy="323165"/>
          </a:xfrm>
          <a:solidFill>
            <a:srgbClr val="00B0F0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432076" y="3279073"/>
            <a:ext cx="4066772" cy="1277300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13"/>
          <p:cNvSpPr>
            <a:spLocks noGrp="1"/>
          </p:cNvSpPr>
          <p:nvPr>
            <p:ph sz="quarter" idx="19"/>
          </p:nvPr>
        </p:nvSpPr>
        <p:spPr>
          <a:xfrm>
            <a:off x="4645169" y="3279073"/>
            <a:ext cx="4066771" cy="1277300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841151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1" name="Content Placeholder 13"/>
          <p:cNvSpPr>
            <a:spLocks noGrp="1"/>
          </p:cNvSpPr>
          <p:nvPr>
            <p:ph sz="quarter" idx="18"/>
          </p:nvPr>
        </p:nvSpPr>
        <p:spPr>
          <a:xfrm>
            <a:off x="1228452" y="1304378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612783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3" name="Content Placeholder 13"/>
          <p:cNvSpPr>
            <a:spLocks noGrp="1"/>
          </p:cNvSpPr>
          <p:nvPr>
            <p:ph sz="quarter" idx="20"/>
          </p:nvPr>
        </p:nvSpPr>
        <p:spPr>
          <a:xfrm>
            <a:off x="3409680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4794025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5" name="Content Placeholder 13"/>
          <p:cNvSpPr>
            <a:spLocks noGrp="1"/>
          </p:cNvSpPr>
          <p:nvPr>
            <p:ph sz="quarter" idx="22"/>
          </p:nvPr>
        </p:nvSpPr>
        <p:spPr>
          <a:xfrm>
            <a:off x="5590946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75267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7" name="Content Placeholder 13"/>
          <p:cNvSpPr>
            <a:spLocks noGrp="1"/>
          </p:cNvSpPr>
          <p:nvPr>
            <p:ph sz="quarter" idx="24"/>
          </p:nvPr>
        </p:nvSpPr>
        <p:spPr>
          <a:xfrm>
            <a:off x="7772169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9" name="Content Placeholder 13"/>
          <p:cNvSpPr>
            <a:spLocks noGrp="1"/>
          </p:cNvSpPr>
          <p:nvPr>
            <p:ph sz="quarter" idx="26"/>
          </p:nvPr>
        </p:nvSpPr>
        <p:spPr>
          <a:xfrm>
            <a:off x="1228452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612783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1" name="Content Placeholder 13"/>
          <p:cNvSpPr>
            <a:spLocks noGrp="1"/>
          </p:cNvSpPr>
          <p:nvPr>
            <p:ph sz="quarter" idx="28"/>
          </p:nvPr>
        </p:nvSpPr>
        <p:spPr>
          <a:xfrm>
            <a:off x="3409680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2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94025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3" name="Content Placeholder 13"/>
          <p:cNvSpPr>
            <a:spLocks noGrp="1"/>
          </p:cNvSpPr>
          <p:nvPr>
            <p:ph sz="quarter" idx="30"/>
          </p:nvPr>
        </p:nvSpPr>
        <p:spPr>
          <a:xfrm>
            <a:off x="5590946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975267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5" name="Content Placeholder 13"/>
          <p:cNvSpPr>
            <a:spLocks noGrp="1"/>
          </p:cNvSpPr>
          <p:nvPr>
            <p:ph sz="quarter" idx="32"/>
          </p:nvPr>
        </p:nvSpPr>
        <p:spPr>
          <a:xfrm>
            <a:off x="7772169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6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7" name="Content Placeholder 13"/>
          <p:cNvSpPr>
            <a:spLocks noGrp="1"/>
          </p:cNvSpPr>
          <p:nvPr>
            <p:ph sz="quarter" idx="34"/>
          </p:nvPr>
        </p:nvSpPr>
        <p:spPr>
          <a:xfrm>
            <a:off x="1228452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8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2612783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9" name="Content Placeholder 13"/>
          <p:cNvSpPr>
            <a:spLocks noGrp="1"/>
          </p:cNvSpPr>
          <p:nvPr>
            <p:ph sz="quarter" idx="36"/>
          </p:nvPr>
        </p:nvSpPr>
        <p:spPr>
          <a:xfrm>
            <a:off x="3409680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0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794025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1" name="Content Placeholder 13"/>
          <p:cNvSpPr>
            <a:spLocks noGrp="1"/>
          </p:cNvSpPr>
          <p:nvPr>
            <p:ph sz="quarter" idx="38"/>
          </p:nvPr>
        </p:nvSpPr>
        <p:spPr>
          <a:xfrm>
            <a:off x="5590946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975267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3" name="Content Placeholder 13"/>
          <p:cNvSpPr>
            <a:spLocks noGrp="1"/>
          </p:cNvSpPr>
          <p:nvPr>
            <p:ph sz="quarter" idx="40"/>
          </p:nvPr>
        </p:nvSpPr>
        <p:spPr>
          <a:xfrm>
            <a:off x="7772169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41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2650660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487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3" name="Content Placeholder 13"/>
          <p:cNvSpPr>
            <a:spLocks noGrp="1"/>
          </p:cNvSpPr>
          <p:nvPr>
            <p:ph sz="quarter" idx="18"/>
          </p:nvPr>
        </p:nvSpPr>
        <p:spPr>
          <a:xfrm>
            <a:off x="1228437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0487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5" name="Content Placeholder 13"/>
          <p:cNvSpPr>
            <a:spLocks noGrp="1"/>
          </p:cNvSpPr>
          <p:nvPr>
            <p:ph sz="quarter" idx="20"/>
          </p:nvPr>
        </p:nvSpPr>
        <p:spPr>
          <a:xfrm>
            <a:off x="4069975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0487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22"/>
          </p:nvPr>
        </p:nvSpPr>
        <p:spPr>
          <a:xfrm>
            <a:off x="6911512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4018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9" name="Content Placeholder 13"/>
          <p:cNvSpPr>
            <a:spLocks noGrp="1"/>
          </p:cNvSpPr>
          <p:nvPr>
            <p:ph sz="quarter" idx="26"/>
          </p:nvPr>
        </p:nvSpPr>
        <p:spPr>
          <a:xfrm>
            <a:off x="1228437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44018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7" name="Content Placeholder 13"/>
          <p:cNvSpPr>
            <a:spLocks noGrp="1"/>
          </p:cNvSpPr>
          <p:nvPr>
            <p:ph sz="quarter" idx="28"/>
          </p:nvPr>
        </p:nvSpPr>
        <p:spPr>
          <a:xfrm>
            <a:off x="4069975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44018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0" name="Content Placeholder 13"/>
          <p:cNvSpPr>
            <a:spLocks noGrp="1"/>
          </p:cNvSpPr>
          <p:nvPr>
            <p:ph sz="quarter" idx="30"/>
          </p:nvPr>
        </p:nvSpPr>
        <p:spPr>
          <a:xfrm>
            <a:off x="6911512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7550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2" name="Content Placeholder 13"/>
          <p:cNvSpPr>
            <a:spLocks noGrp="1"/>
          </p:cNvSpPr>
          <p:nvPr>
            <p:ph sz="quarter" idx="34"/>
          </p:nvPr>
        </p:nvSpPr>
        <p:spPr>
          <a:xfrm>
            <a:off x="1228437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70244" y="357550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4" name="Content Placeholder 13"/>
          <p:cNvSpPr>
            <a:spLocks noGrp="1"/>
          </p:cNvSpPr>
          <p:nvPr>
            <p:ph sz="quarter" idx="36"/>
          </p:nvPr>
        </p:nvSpPr>
        <p:spPr>
          <a:xfrm>
            <a:off x="4069975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108947" y="3575506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6" name="Content Placeholder 13"/>
          <p:cNvSpPr>
            <a:spLocks noGrp="1"/>
          </p:cNvSpPr>
          <p:nvPr>
            <p:ph sz="quarter" idx="38"/>
          </p:nvPr>
        </p:nvSpPr>
        <p:spPr>
          <a:xfrm>
            <a:off x="6911512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9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2707325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228437" y="1302230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4069975" y="1302230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6911512" y="1302230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/>
          </p:nvPr>
        </p:nvSpPr>
        <p:spPr>
          <a:xfrm>
            <a:off x="1228437" y="2987321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9872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/>
          </p:nvPr>
        </p:nvSpPr>
        <p:spPr>
          <a:xfrm>
            <a:off x="4069975" y="2987321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98727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/>
          </p:nvPr>
        </p:nvSpPr>
        <p:spPr>
          <a:xfrm>
            <a:off x="6911512" y="2987321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1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3047261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721538" y="1302230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709852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6002681" y="1302230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78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/>
          </p:nvPr>
        </p:nvSpPr>
        <p:spPr>
          <a:xfrm>
            <a:off x="1721538" y="2987321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709852" y="2987278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/>
          </p:nvPr>
        </p:nvSpPr>
        <p:spPr>
          <a:xfrm>
            <a:off x="6002681" y="2987321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9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222346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9" y="3600550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9" y="459582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4198" indent="0">
              <a:buNone/>
              <a:defRPr sz="2700"/>
            </a:lvl2pPr>
            <a:lvl3pPr marL="908397" indent="0">
              <a:buNone/>
              <a:defRPr sz="2400"/>
            </a:lvl3pPr>
            <a:lvl4pPr marL="1362595" indent="0">
              <a:buNone/>
              <a:defRPr sz="2000"/>
            </a:lvl4pPr>
            <a:lvl5pPr marL="1816797" indent="0">
              <a:buNone/>
              <a:defRPr sz="2000"/>
            </a:lvl5pPr>
            <a:lvl6pPr marL="2270997" indent="0">
              <a:buNone/>
              <a:defRPr sz="2000"/>
            </a:lvl6pPr>
            <a:lvl7pPr marL="2725197" indent="0">
              <a:buNone/>
              <a:defRPr sz="2000"/>
            </a:lvl7pPr>
            <a:lvl8pPr marL="3179394" indent="0">
              <a:buNone/>
              <a:defRPr sz="2000"/>
            </a:lvl8pPr>
            <a:lvl9pPr marL="3633595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9" y="4025600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4198" indent="0">
              <a:buNone/>
              <a:defRPr sz="1200"/>
            </a:lvl2pPr>
            <a:lvl3pPr marL="908397" indent="0">
              <a:buNone/>
              <a:defRPr sz="1000"/>
            </a:lvl3pPr>
            <a:lvl4pPr marL="1362595" indent="0">
              <a:buNone/>
              <a:defRPr sz="900"/>
            </a:lvl4pPr>
            <a:lvl5pPr marL="1816797" indent="0">
              <a:buNone/>
              <a:defRPr sz="900"/>
            </a:lvl5pPr>
            <a:lvl6pPr marL="2270997" indent="0">
              <a:buNone/>
              <a:defRPr sz="900"/>
            </a:lvl6pPr>
            <a:lvl7pPr marL="2725197" indent="0">
              <a:buNone/>
              <a:defRPr sz="900"/>
            </a:lvl7pPr>
            <a:lvl8pPr marL="3179394" indent="0">
              <a:buNone/>
              <a:defRPr sz="900"/>
            </a:lvl8pPr>
            <a:lvl9pPr marL="363359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7" y="4894015"/>
            <a:ext cx="360040" cy="193724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819477071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93773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5152" y="1193773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8"/>
          </p:nvPr>
        </p:nvSpPr>
        <p:spPr>
          <a:xfrm>
            <a:off x="430932" y="3674371"/>
            <a:ext cx="4067916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3674371"/>
            <a:ext cx="4065628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2000" y="2441762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45152" y="2441762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5947770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79507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431557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918210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3270332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756913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6108972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2959819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39452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2642365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4745243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/>
          </p:nvPr>
        </p:nvSpPr>
        <p:spPr>
          <a:xfrm>
            <a:off x="6848151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827584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030014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7131229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928799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5431399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23222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1540" y="210015"/>
            <a:ext cx="828092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00239164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6424422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3139869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5659373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 lIns="91411" tIns="45705" rIns="91411" bIns="45705"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>
                <a:solidFill>
                  <a:prstClr val="white"/>
                </a:solidFill>
                <a:latin typeface="Arial" charset="0"/>
              </a:rPr>
              <a:t>#</a:t>
            </a:r>
            <a:endParaRPr lang="en-IN" dirty="0">
              <a:solidFill>
                <a:prstClr val="white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4026583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/>
              <a:t>‹#›</a:t>
            </a:fld>
            <a:endParaRPr lang="en-IN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51" y="789594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6045141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2" y="1597968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12" y="2914650"/>
            <a:ext cx="6400801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4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9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35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18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25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27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15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36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7" y="4894009"/>
            <a:ext cx="360040" cy="193724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897233205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98381791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37623239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1189312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4208548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31540" y="1189312"/>
            <a:ext cx="4068452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/>
          </p:nvPr>
        </p:nvSpPr>
        <p:spPr>
          <a:xfrm>
            <a:off x="4644008" y="1189312"/>
            <a:ext cx="4068452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75773713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1284434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1125778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7200" y="1200150"/>
            <a:ext cx="18288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362200" y="1200150"/>
            <a:ext cx="18288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267200" y="1200150"/>
            <a:ext cx="18288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72200" y="1200150"/>
            <a:ext cx="18288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31766608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9525925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286762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73524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0286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564893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286762" y="2564893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573524" y="2564893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860286" y="2564893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33334986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828229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656457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484686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312914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171107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828229" y="171107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656457" y="171107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484686" y="171107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312914" y="171107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3422143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828229" y="3422143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3656457" y="3422143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484686" y="3422143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312914" y="3422143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8120735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1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7" y="4894009"/>
            <a:ext cx="360040" cy="193724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789554"/>
            <a:ext cx="8207375" cy="35647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5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5583570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521562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043124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564685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607808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086247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521562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3043124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564685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1521562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3043124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564685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7607808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086247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1521562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043124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4564685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607808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6086247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78856418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2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1220" y="1047752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0440" y="1047752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79660" y="1047752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8122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73932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7966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6671929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3545981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03652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203652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1203652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179259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15566"/>
            <a:ext cx="4067992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915566"/>
            <a:ext cx="4067991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44008" y="2643759"/>
            <a:ext cx="40680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2643759"/>
            <a:ext cx="40680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2214560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03599"/>
            <a:ext cx="4067992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203599"/>
            <a:ext cx="4067991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44008" y="2931790"/>
            <a:ext cx="40680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2931790"/>
            <a:ext cx="40680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9809152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56083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80166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04248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32000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556083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80166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804248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56083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80166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04248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2013080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56083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80166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04248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32000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556083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80166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804248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56083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80166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04248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04264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431540" y="242329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323844" y="242329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215688" y="242329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579863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579863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579863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6196860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2343151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10866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2099969" y="2343151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377373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3767938" y="2343151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9"/>
          </p:nvPr>
        </p:nvSpPr>
        <p:spPr>
          <a:xfrm>
            <a:off x="543880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50"/>
          </p:nvPr>
        </p:nvSpPr>
        <p:spPr>
          <a:xfrm>
            <a:off x="5435907" y="2343151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51"/>
          </p:nvPr>
        </p:nvSpPr>
        <p:spPr>
          <a:xfrm>
            <a:off x="710387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52"/>
          </p:nvPr>
        </p:nvSpPr>
        <p:spPr>
          <a:xfrm>
            <a:off x="7103878" y="2343151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135510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234"/>
            <a:ext cx="7772400" cy="1021557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137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451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0902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635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1804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725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270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815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360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7" y="4894009"/>
            <a:ext cx="360040" cy="193724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191053569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10866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2099969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377373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3767938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9"/>
          </p:nvPr>
        </p:nvSpPr>
        <p:spPr>
          <a:xfrm>
            <a:off x="543880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50"/>
          </p:nvPr>
        </p:nvSpPr>
        <p:spPr>
          <a:xfrm>
            <a:off x="5435907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51"/>
          </p:nvPr>
        </p:nvSpPr>
        <p:spPr>
          <a:xfrm>
            <a:off x="710387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52"/>
          </p:nvPr>
        </p:nvSpPr>
        <p:spPr>
          <a:xfrm>
            <a:off x="7103878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8123701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61992" y="1200153"/>
            <a:ext cx="4104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4644713" y="1200153"/>
            <a:ext cx="4104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4635309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992032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442945" y="3292476"/>
            <a:ext cx="4105275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643464" y="3292476"/>
            <a:ext cx="4105275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6"/>
            <a:ext cx="4104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4644008" y="915566"/>
            <a:ext cx="4104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4635309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2010939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42920" y="3292476"/>
            <a:ext cx="2700337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228975" y="3292476"/>
            <a:ext cx="2700338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13450" y="3292476"/>
            <a:ext cx="2700338" cy="431800"/>
          </a:xfrm>
          <a:prstGeom prst="rect">
            <a:avLst/>
          </a:prstGeom>
          <a:solidFill>
            <a:srgbClr val="1D6E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3228919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322022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6014239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6008439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200475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42920" y="3292476"/>
            <a:ext cx="2700337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228975" y="3292476"/>
            <a:ext cx="2700338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013450" y="3292476"/>
            <a:ext cx="2700338" cy="431800"/>
          </a:xfrm>
          <a:prstGeom prst="rect">
            <a:avLst/>
          </a:prstGeom>
          <a:solidFill>
            <a:srgbClr val="1D6E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3228919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322022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6014239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6008439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368534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0"/>
            <a:ext cx="406799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047750"/>
            <a:ext cx="4067991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3924300"/>
            <a:ext cx="4066772" cy="323165"/>
          </a:xfrm>
          <a:solidFill>
            <a:srgbClr val="0065A4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69" y="3924300"/>
            <a:ext cx="4066771" cy="323165"/>
          </a:xfrm>
          <a:solidFill>
            <a:srgbClr val="8DB74A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485519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24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28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832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32000" y="2630576"/>
            <a:ext cx="1831086" cy="507831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582400" y="2630576"/>
            <a:ext cx="1831086" cy="507831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730514" y="2630576"/>
            <a:ext cx="1831086" cy="507831"/>
          </a:xfrm>
          <a:solidFill>
            <a:srgbClr val="46B3C7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880914" y="2630576"/>
            <a:ext cx="1831086" cy="507831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432000" y="3266893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24"/>
          </p:nvPr>
        </p:nvSpPr>
        <p:spPr>
          <a:xfrm>
            <a:off x="2582400" y="3266893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5"/>
          </p:nvPr>
        </p:nvSpPr>
        <p:spPr>
          <a:xfrm>
            <a:off x="4730514" y="3266893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6"/>
          </p:nvPr>
        </p:nvSpPr>
        <p:spPr>
          <a:xfrm>
            <a:off x="6880914" y="3266893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3516976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823488"/>
            <a:ext cx="2496312" cy="323165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823488"/>
            <a:ext cx="2496312" cy="323165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823488"/>
            <a:ext cx="2496312" cy="323165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13"/>
          <p:cNvSpPr>
            <a:spLocks noGrp="1"/>
          </p:cNvSpPr>
          <p:nvPr>
            <p:ph sz="quarter" idx="18"/>
          </p:nvPr>
        </p:nvSpPr>
        <p:spPr>
          <a:xfrm>
            <a:off x="435540" y="3274958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Font typeface="Arial" panose="020B0604020202020204" pitchFamily="34" charset="0"/>
              <a:buChar char="•"/>
              <a:defRPr sz="1100"/>
            </a:lvl2pPr>
            <a:lvl3pPr marL="257175" indent="-128588">
              <a:defRPr sz="1100"/>
            </a:lvl3pPr>
            <a:lvl4pPr marL="385763" indent="-128588"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274958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/>
            </a:lvl2pPr>
            <a:lvl3pPr marL="257175" indent="-128588">
              <a:buClr>
                <a:schemeClr val="accent4"/>
              </a:buClr>
              <a:defRPr sz="1100"/>
            </a:lvl3pPr>
            <a:lvl4pPr marL="385763" indent="-128588">
              <a:buClr>
                <a:schemeClr val="accent4"/>
              </a:buClr>
              <a:defRPr sz="1100"/>
            </a:lvl4pPr>
            <a:lvl5pPr>
              <a:buClr>
                <a:schemeClr val="accent4"/>
              </a:buCl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0"/>
          </p:nvPr>
        </p:nvSpPr>
        <p:spPr>
          <a:xfrm>
            <a:off x="6215688" y="3274958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/>
            </a:lvl2pPr>
            <a:lvl3pPr marL="257175" indent="-128588">
              <a:buClr>
                <a:schemeClr val="accent3"/>
              </a:buClr>
              <a:defRPr sz="1100"/>
            </a:lvl3pPr>
            <a:lvl4pPr marL="385763" indent="-128588">
              <a:buClr>
                <a:schemeClr val="accent3"/>
              </a:buClr>
              <a:defRPr sz="1100"/>
            </a:lvl4pPr>
            <a:lvl5pPr>
              <a:buClr>
                <a:schemeClr val="accent3"/>
              </a:buCl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404736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555360"/>
            <a:ext cx="2496312" cy="323165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555360"/>
            <a:ext cx="2496312" cy="323165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555360"/>
            <a:ext cx="2496312" cy="323165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484697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67596"/>
            <a:ext cx="406799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167596"/>
            <a:ext cx="4067991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2827604"/>
            <a:ext cx="4066772" cy="323165"/>
          </a:xfrm>
          <a:solidFill>
            <a:srgbClr val="0065A4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2827604"/>
            <a:ext cx="4066770" cy="323165"/>
          </a:xfrm>
          <a:solidFill>
            <a:srgbClr val="00B0F0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432076" y="3279073"/>
            <a:ext cx="4066772" cy="1277300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13"/>
          <p:cNvSpPr>
            <a:spLocks noGrp="1"/>
          </p:cNvSpPr>
          <p:nvPr>
            <p:ph sz="quarter" idx="19"/>
          </p:nvPr>
        </p:nvSpPr>
        <p:spPr>
          <a:xfrm>
            <a:off x="4645169" y="3279073"/>
            <a:ext cx="4066771" cy="1277300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4419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14" y="789556"/>
            <a:ext cx="4038599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2" y="789556"/>
            <a:ext cx="4038599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7" y="4894009"/>
            <a:ext cx="360040" cy="193724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644640983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1" name="Content Placeholder 13"/>
          <p:cNvSpPr>
            <a:spLocks noGrp="1"/>
          </p:cNvSpPr>
          <p:nvPr>
            <p:ph sz="quarter" idx="18"/>
          </p:nvPr>
        </p:nvSpPr>
        <p:spPr>
          <a:xfrm>
            <a:off x="1228452" y="1304378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612783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3" name="Content Placeholder 13"/>
          <p:cNvSpPr>
            <a:spLocks noGrp="1"/>
          </p:cNvSpPr>
          <p:nvPr>
            <p:ph sz="quarter" idx="20"/>
          </p:nvPr>
        </p:nvSpPr>
        <p:spPr>
          <a:xfrm>
            <a:off x="3409680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4794025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5" name="Content Placeholder 13"/>
          <p:cNvSpPr>
            <a:spLocks noGrp="1"/>
          </p:cNvSpPr>
          <p:nvPr>
            <p:ph sz="quarter" idx="22"/>
          </p:nvPr>
        </p:nvSpPr>
        <p:spPr>
          <a:xfrm>
            <a:off x="5590946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75267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7" name="Content Placeholder 13"/>
          <p:cNvSpPr>
            <a:spLocks noGrp="1"/>
          </p:cNvSpPr>
          <p:nvPr>
            <p:ph sz="quarter" idx="24"/>
          </p:nvPr>
        </p:nvSpPr>
        <p:spPr>
          <a:xfrm>
            <a:off x="7772169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3969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9" name="Content Placeholder 13"/>
          <p:cNvSpPr>
            <a:spLocks noGrp="1"/>
          </p:cNvSpPr>
          <p:nvPr>
            <p:ph sz="quarter" idx="26"/>
          </p:nvPr>
        </p:nvSpPr>
        <p:spPr>
          <a:xfrm>
            <a:off x="1228452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612783" y="243969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1" name="Content Placeholder 13"/>
          <p:cNvSpPr>
            <a:spLocks noGrp="1"/>
          </p:cNvSpPr>
          <p:nvPr>
            <p:ph sz="quarter" idx="28"/>
          </p:nvPr>
        </p:nvSpPr>
        <p:spPr>
          <a:xfrm>
            <a:off x="3409680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94025" y="243969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3" name="Content Placeholder 13"/>
          <p:cNvSpPr>
            <a:spLocks noGrp="1"/>
          </p:cNvSpPr>
          <p:nvPr>
            <p:ph sz="quarter" idx="30"/>
          </p:nvPr>
        </p:nvSpPr>
        <p:spPr>
          <a:xfrm>
            <a:off x="5590946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975267" y="243969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5" name="Content Placeholder 13"/>
          <p:cNvSpPr>
            <a:spLocks noGrp="1"/>
          </p:cNvSpPr>
          <p:nvPr>
            <p:ph sz="quarter" idx="32"/>
          </p:nvPr>
        </p:nvSpPr>
        <p:spPr>
          <a:xfrm>
            <a:off x="7772169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7" name="Content Placeholder 13"/>
          <p:cNvSpPr>
            <a:spLocks noGrp="1"/>
          </p:cNvSpPr>
          <p:nvPr>
            <p:ph sz="quarter" idx="34"/>
          </p:nvPr>
        </p:nvSpPr>
        <p:spPr>
          <a:xfrm>
            <a:off x="1228452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2612783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9" name="Content Placeholder 13"/>
          <p:cNvSpPr>
            <a:spLocks noGrp="1"/>
          </p:cNvSpPr>
          <p:nvPr>
            <p:ph sz="quarter" idx="36"/>
          </p:nvPr>
        </p:nvSpPr>
        <p:spPr>
          <a:xfrm>
            <a:off x="3409680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794025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1" name="Content Placeholder 13"/>
          <p:cNvSpPr>
            <a:spLocks noGrp="1"/>
          </p:cNvSpPr>
          <p:nvPr>
            <p:ph sz="quarter" idx="38"/>
          </p:nvPr>
        </p:nvSpPr>
        <p:spPr>
          <a:xfrm>
            <a:off x="5590946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975267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3" name="Content Placeholder 13"/>
          <p:cNvSpPr>
            <a:spLocks noGrp="1"/>
          </p:cNvSpPr>
          <p:nvPr>
            <p:ph sz="quarter" idx="40"/>
          </p:nvPr>
        </p:nvSpPr>
        <p:spPr>
          <a:xfrm>
            <a:off x="7772169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41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5554002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487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Content Placeholder 13"/>
          <p:cNvSpPr>
            <a:spLocks noGrp="1"/>
          </p:cNvSpPr>
          <p:nvPr>
            <p:ph sz="quarter" idx="18"/>
          </p:nvPr>
        </p:nvSpPr>
        <p:spPr>
          <a:xfrm>
            <a:off x="1228437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0487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5" name="Content Placeholder 13"/>
          <p:cNvSpPr>
            <a:spLocks noGrp="1"/>
          </p:cNvSpPr>
          <p:nvPr>
            <p:ph sz="quarter" idx="20"/>
          </p:nvPr>
        </p:nvSpPr>
        <p:spPr>
          <a:xfrm>
            <a:off x="4069975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0487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Content Placeholder 13"/>
          <p:cNvSpPr>
            <a:spLocks noGrp="1"/>
          </p:cNvSpPr>
          <p:nvPr>
            <p:ph sz="quarter" idx="22"/>
          </p:nvPr>
        </p:nvSpPr>
        <p:spPr>
          <a:xfrm>
            <a:off x="6911512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4018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9" name="Content Placeholder 13"/>
          <p:cNvSpPr>
            <a:spLocks noGrp="1"/>
          </p:cNvSpPr>
          <p:nvPr>
            <p:ph sz="quarter" idx="26"/>
          </p:nvPr>
        </p:nvSpPr>
        <p:spPr>
          <a:xfrm>
            <a:off x="1228437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44018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7" name="Content Placeholder 13"/>
          <p:cNvSpPr>
            <a:spLocks noGrp="1"/>
          </p:cNvSpPr>
          <p:nvPr>
            <p:ph sz="quarter" idx="28"/>
          </p:nvPr>
        </p:nvSpPr>
        <p:spPr>
          <a:xfrm>
            <a:off x="4069975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44018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0" name="Content Placeholder 13"/>
          <p:cNvSpPr>
            <a:spLocks noGrp="1"/>
          </p:cNvSpPr>
          <p:nvPr>
            <p:ph sz="quarter" idx="30"/>
          </p:nvPr>
        </p:nvSpPr>
        <p:spPr>
          <a:xfrm>
            <a:off x="6911512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7550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2" name="Content Placeholder 13"/>
          <p:cNvSpPr>
            <a:spLocks noGrp="1"/>
          </p:cNvSpPr>
          <p:nvPr>
            <p:ph sz="quarter" idx="34"/>
          </p:nvPr>
        </p:nvSpPr>
        <p:spPr>
          <a:xfrm>
            <a:off x="1228437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70244" y="357550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4" name="Content Placeholder 13"/>
          <p:cNvSpPr>
            <a:spLocks noGrp="1"/>
          </p:cNvSpPr>
          <p:nvPr>
            <p:ph sz="quarter" idx="36"/>
          </p:nvPr>
        </p:nvSpPr>
        <p:spPr>
          <a:xfrm>
            <a:off x="4069975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108947" y="3575506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6" name="Content Placeholder 13"/>
          <p:cNvSpPr>
            <a:spLocks noGrp="1"/>
          </p:cNvSpPr>
          <p:nvPr>
            <p:ph sz="quarter" idx="38"/>
          </p:nvPr>
        </p:nvSpPr>
        <p:spPr>
          <a:xfrm>
            <a:off x="6911512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9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8174947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228437" y="1302241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4069975" y="1302241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6911512" y="1302241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7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/>
          </p:nvPr>
        </p:nvSpPr>
        <p:spPr>
          <a:xfrm>
            <a:off x="1228437" y="2987326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98727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/>
          </p:nvPr>
        </p:nvSpPr>
        <p:spPr>
          <a:xfrm>
            <a:off x="4069975" y="2987326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9872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/>
          </p:nvPr>
        </p:nvSpPr>
        <p:spPr>
          <a:xfrm>
            <a:off x="6911512" y="2987326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1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9303555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721538" y="1302241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709852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6002681" y="1302241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81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/>
          </p:nvPr>
        </p:nvSpPr>
        <p:spPr>
          <a:xfrm>
            <a:off x="1721538" y="2987326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709852" y="2987281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/>
          </p:nvPr>
        </p:nvSpPr>
        <p:spPr>
          <a:xfrm>
            <a:off x="6002681" y="2987326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9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612273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93774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5152" y="1193774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8"/>
          </p:nvPr>
        </p:nvSpPr>
        <p:spPr>
          <a:xfrm>
            <a:off x="430932" y="3674420"/>
            <a:ext cx="4067916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3674420"/>
            <a:ext cx="4065628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2000" y="2441763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45152" y="2441763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5374835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79507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431557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918210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3270337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756913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6108972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0381837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39452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2642365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4745243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/>
          </p:nvPr>
        </p:nvSpPr>
        <p:spPr>
          <a:xfrm>
            <a:off x="6848151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827584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030014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7131229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928799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62360985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03075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1540" y="210019"/>
            <a:ext cx="828092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23929508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114612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802660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4510" indent="0">
              <a:buNone/>
              <a:defRPr sz="2000" b="1"/>
            </a:lvl2pPr>
            <a:lvl3pPr marL="909020" indent="0">
              <a:buNone/>
              <a:defRPr sz="1800" b="1"/>
            </a:lvl3pPr>
            <a:lvl4pPr marL="1363531" indent="0">
              <a:buNone/>
              <a:defRPr sz="1500" b="1"/>
            </a:lvl4pPr>
            <a:lvl5pPr marL="1818041" indent="0">
              <a:buNone/>
              <a:defRPr sz="1500" b="1"/>
            </a:lvl5pPr>
            <a:lvl6pPr marL="2272551" indent="0">
              <a:buNone/>
              <a:defRPr sz="1500" b="1"/>
            </a:lvl6pPr>
            <a:lvl7pPr marL="2727062" indent="0">
              <a:buNone/>
              <a:defRPr sz="1500" b="1"/>
            </a:lvl7pPr>
            <a:lvl8pPr marL="3181572" indent="0">
              <a:buNone/>
              <a:defRPr sz="1500" b="1"/>
            </a:lvl8pPr>
            <a:lvl9pPr marL="3636083" indent="0">
              <a:buNone/>
              <a:defRPr sz="15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1282590"/>
            <a:ext cx="4040188" cy="296346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802660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4510" indent="0">
              <a:buNone/>
              <a:defRPr sz="2000" b="1"/>
            </a:lvl2pPr>
            <a:lvl3pPr marL="909020" indent="0">
              <a:buNone/>
              <a:defRPr sz="1800" b="1"/>
            </a:lvl3pPr>
            <a:lvl4pPr marL="1363531" indent="0">
              <a:buNone/>
              <a:defRPr sz="1500" b="1"/>
            </a:lvl4pPr>
            <a:lvl5pPr marL="1818041" indent="0">
              <a:buNone/>
              <a:defRPr sz="1500" b="1"/>
            </a:lvl5pPr>
            <a:lvl6pPr marL="2272551" indent="0">
              <a:buNone/>
              <a:defRPr sz="1500" b="1"/>
            </a:lvl6pPr>
            <a:lvl7pPr marL="2727062" indent="0">
              <a:buNone/>
              <a:defRPr sz="1500" b="1"/>
            </a:lvl7pPr>
            <a:lvl8pPr marL="3181572" indent="0">
              <a:buNone/>
              <a:defRPr sz="1500" b="1"/>
            </a:lvl8pPr>
            <a:lvl9pPr marL="3636083" indent="0">
              <a:buNone/>
              <a:defRPr sz="15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282590"/>
            <a:ext cx="4041775" cy="296346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7" y="4894009"/>
            <a:ext cx="360040" cy="193724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695044148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6294951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1690739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769B1B6-1B71-41A2-A70F-424E18921746}" type="slidenum">
              <a:rPr lang="en-IN" smtClean="0">
                <a:solidFill>
                  <a:prstClr val="white"/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IN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51" y="789579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40311735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71760965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7122836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1189312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9545619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31540" y="1189312"/>
            <a:ext cx="4068452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/>
          </p:nvPr>
        </p:nvSpPr>
        <p:spPr>
          <a:xfrm>
            <a:off x="4644008" y="1189312"/>
            <a:ext cx="4068452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19973882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8237520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156400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7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362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267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72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5310918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7" y="4894009"/>
            <a:ext cx="360040" cy="193724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960810221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9839510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286762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73524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0286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286762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573524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860286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05885083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828229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656457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484686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312914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828229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656457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484686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312914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828229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3656457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484686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312914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26890642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521562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043124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564685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607808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086247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521562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3043124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564685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1521562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3043124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564685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7607808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086247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1521562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043124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4564685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607808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6086247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87077111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122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044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7966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8122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73932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7966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4704893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2328087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03641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203641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1203641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9884836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15566"/>
            <a:ext cx="4067992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915566"/>
            <a:ext cx="4067991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44008" y="2643759"/>
            <a:ext cx="40680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2643759"/>
            <a:ext cx="40680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4704037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03598"/>
            <a:ext cx="4067992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203598"/>
            <a:ext cx="4067991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44008" y="2931790"/>
            <a:ext cx="40680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2931790"/>
            <a:ext cx="40680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9121296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56083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80166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04248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32000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556083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80166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804248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56083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80166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04248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37823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7" y="4894009"/>
            <a:ext cx="360040" cy="193724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2212734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56083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80166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04248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32000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556083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80166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804248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56083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80166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04248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4299195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431540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323844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215688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579862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579862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579862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5279968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10866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2099969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377373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3767938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9"/>
          </p:nvPr>
        </p:nvSpPr>
        <p:spPr>
          <a:xfrm>
            <a:off x="543880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50"/>
          </p:nvPr>
        </p:nvSpPr>
        <p:spPr>
          <a:xfrm>
            <a:off x="5435907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51"/>
          </p:nvPr>
        </p:nvSpPr>
        <p:spPr>
          <a:xfrm>
            <a:off x="710387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52"/>
          </p:nvPr>
        </p:nvSpPr>
        <p:spPr>
          <a:xfrm>
            <a:off x="7103878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5983993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10866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2099969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377373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3767938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9"/>
          </p:nvPr>
        </p:nvSpPr>
        <p:spPr>
          <a:xfrm>
            <a:off x="543880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50"/>
          </p:nvPr>
        </p:nvSpPr>
        <p:spPr>
          <a:xfrm>
            <a:off x="5435907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51"/>
          </p:nvPr>
        </p:nvSpPr>
        <p:spPr>
          <a:xfrm>
            <a:off x="710387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52"/>
          </p:nvPr>
        </p:nvSpPr>
        <p:spPr>
          <a:xfrm>
            <a:off x="7103878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6645883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61992" y="1200150"/>
            <a:ext cx="4104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4644713" y="1200150"/>
            <a:ext cx="4104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4635309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0200762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442945" y="3292475"/>
            <a:ext cx="4105275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643464" y="3292475"/>
            <a:ext cx="4105275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6"/>
            <a:ext cx="4104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4644008" y="915566"/>
            <a:ext cx="4104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4635309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0140326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42920" y="3292475"/>
            <a:ext cx="2700337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228975" y="3292475"/>
            <a:ext cx="2700338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13450" y="3292475"/>
            <a:ext cx="2700338" cy="431800"/>
          </a:xfrm>
          <a:prstGeom prst="rect">
            <a:avLst/>
          </a:prstGeom>
          <a:solidFill>
            <a:srgbClr val="1D6E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3228919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322022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6014239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6008439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4955603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42920" y="3292475"/>
            <a:ext cx="2700337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228975" y="3292475"/>
            <a:ext cx="2700338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013450" y="3292475"/>
            <a:ext cx="2700338" cy="431800"/>
          </a:xfrm>
          <a:prstGeom prst="rect">
            <a:avLst/>
          </a:prstGeom>
          <a:solidFill>
            <a:srgbClr val="1D6E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3228919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322022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6014239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6008439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8080650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0"/>
            <a:ext cx="406799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047750"/>
            <a:ext cx="4067991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3924231"/>
            <a:ext cx="4066772" cy="323165"/>
          </a:xfrm>
          <a:solidFill>
            <a:srgbClr val="0065A4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69" y="3924231"/>
            <a:ext cx="4066771" cy="323165"/>
          </a:xfrm>
          <a:solidFill>
            <a:srgbClr val="8DB74A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0465432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24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28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832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32000" y="2630576"/>
            <a:ext cx="1831086" cy="507831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582400" y="2630576"/>
            <a:ext cx="1831086" cy="507831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730514" y="2630576"/>
            <a:ext cx="1831086" cy="507831"/>
          </a:xfrm>
          <a:solidFill>
            <a:srgbClr val="46B3C7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880914" y="2630576"/>
            <a:ext cx="1831086" cy="507831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432000" y="326684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24"/>
          </p:nvPr>
        </p:nvSpPr>
        <p:spPr>
          <a:xfrm>
            <a:off x="2582400" y="326684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5"/>
          </p:nvPr>
        </p:nvSpPr>
        <p:spPr>
          <a:xfrm>
            <a:off x="4730514" y="326684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6"/>
          </p:nvPr>
        </p:nvSpPr>
        <p:spPr>
          <a:xfrm>
            <a:off x="6880914" y="326684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33197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88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137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61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2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983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64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306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3968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629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29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08918371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9" y="3600550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9" y="459582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4510" indent="0">
              <a:buNone/>
              <a:defRPr sz="2700"/>
            </a:lvl2pPr>
            <a:lvl3pPr marL="909020" indent="0">
              <a:buNone/>
              <a:defRPr sz="2400"/>
            </a:lvl3pPr>
            <a:lvl4pPr marL="1363531" indent="0">
              <a:buNone/>
              <a:defRPr sz="2000"/>
            </a:lvl4pPr>
            <a:lvl5pPr marL="1818041" indent="0">
              <a:buNone/>
              <a:defRPr sz="2000"/>
            </a:lvl5pPr>
            <a:lvl6pPr marL="2272551" indent="0">
              <a:buNone/>
              <a:defRPr sz="2000"/>
            </a:lvl6pPr>
            <a:lvl7pPr marL="2727062" indent="0">
              <a:buNone/>
              <a:defRPr sz="2000"/>
            </a:lvl7pPr>
            <a:lvl8pPr marL="3181572" indent="0">
              <a:buNone/>
              <a:defRPr sz="2000"/>
            </a:lvl8pPr>
            <a:lvl9pPr marL="3636083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9" y="4025600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4510" indent="0">
              <a:buNone/>
              <a:defRPr sz="1200"/>
            </a:lvl2pPr>
            <a:lvl3pPr marL="909020" indent="0">
              <a:buNone/>
              <a:defRPr sz="1000"/>
            </a:lvl3pPr>
            <a:lvl4pPr marL="1363531" indent="0">
              <a:buNone/>
              <a:defRPr sz="900"/>
            </a:lvl4pPr>
            <a:lvl5pPr marL="1818041" indent="0">
              <a:buNone/>
              <a:defRPr sz="900"/>
            </a:lvl5pPr>
            <a:lvl6pPr marL="2272551" indent="0">
              <a:buNone/>
              <a:defRPr sz="900"/>
            </a:lvl6pPr>
            <a:lvl7pPr marL="2727062" indent="0">
              <a:buNone/>
              <a:defRPr sz="900"/>
            </a:lvl7pPr>
            <a:lvl8pPr marL="3181572" indent="0">
              <a:buNone/>
              <a:defRPr sz="900"/>
            </a:lvl8pPr>
            <a:lvl9pPr marL="36360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7" y="4894009"/>
            <a:ext cx="360040" cy="193724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346677345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823423"/>
            <a:ext cx="2496312" cy="323165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823423"/>
            <a:ext cx="2496312" cy="323165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823423"/>
            <a:ext cx="2496312" cy="323165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13"/>
          <p:cNvSpPr>
            <a:spLocks noGrp="1"/>
          </p:cNvSpPr>
          <p:nvPr>
            <p:ph sz="quarter" idx="18"/>
          </p:nvPr>
        </p:nvSpPr>
        <p:spPr>
          <a:xfrm>
            <a:off x="435540" y="3274955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Font typeface="Arial" panose="020B0604020202020204" pitchFamily="34" charset="0"/>
              <a:buChar char="•"/>
              <a:defRPr sz="1100"/>
            </a:lvl2pPr>
            <a:lvl3pPr marL="257175" indent="-128588">
              <a:defRPr sz="1100"/>
            </a:lvl3pPr>
            <a:lvl4pPr marL="385763" indent="-128588"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274955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/>
            </a:lvl2pPr>
            <a:lvl3pPr marL="257175" indent="-128588">
              <a:buClr>
                <a:schemeClr val="accent4"/>
              </a:buClr>
              <a:defRPr sz="1100"/>
            </a:lvl3pPr>
            <a:lvl4pPr marL="385763" indent="-128588">
              <a:buClr>
                <a:schemeClr val="accent4"/>
              </a:buClr>
              <a:defRPr sz="1100"/>
            </a:lvl4pPr>
            <a:lvl5pPr>
              <a:buClr>
                <a:schemeClr val="accent4"/>
              </a:buCl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0"/>
          </p:nvPr>
        </p:nvSpPr>
        <p:spPr>
          <a:xfrm>
            <a:off x="6215688" y="3274955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/>
            </a:lvl2pPr>
            <a:lvl3pPr marL="257175" indent="-128588">
              <a:buClr>
                <a:schemeClr val="accent3"/>
              </a:buClr>
              <a:defRPr sz="1100"/>
            </a:lvl3pPr>
            <a:lvl4pPr marL="385763" indent="-128588">
              <a:buClr>
                <a:schemeClr val="accent3"/>
              </a:buClr>
              <a:defRPr sz="1100"/>
            </a:lvl4pPr>
            <a:lvl5pPr>
              <a:buClr>
                <a:schemeClr val="accent3"/>
              </a:buCl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6313923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555294"/>
            <a:ext cx="2496312" cy="323165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555294"/>
            <a:ext cx="2496312" cy="323165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555294"/>
            <a:ext cx="2496312" cy="323165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544731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67596"/>
            <a:ext cx="406799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167596"/>
            <a:ext cx="4067991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2827538"/>
            <a:ext cx="4066772" cy="323165"/>
          </a:xfrm>
          <a:solidFill>
            <a:srgbClr val="0065A4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2827538"/>
            <a:ext cx="4066770" cy="323165"/>
          </a:xfrm>
          <a:solidFill>
            <a:srgbClr val="00B0F0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432076" y="3279073"/>
            <a:ext cx="4066772" cy="1277300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13"/>
          <p:cNvSpPr>
            <a:spLocks noGrp="1"/>
          </p:cNvSpPr>
          <p:nvPr>
            <p:ph sz="quarter" idx="19"/>
          </p:nvPr>
        </p:nvSpPr>
        <p:spPr>
          <a:xfrm>
            <a:off x="4645169" y="3279073"/>
            <a:ext cx="4066771" cy="1277300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8421744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1" name="Content Placeholder 13"/>
          <p:cNvSpPr>
            <a:spLocks noGrp="1"/>
          </p:cNvSpPr>
          <p:nvPr>
            <p:ph sz="quarter" idx="18"/>
          </p:nvPr>
        </p:nvSpPr>
        <p:spPr>
          <a:xfrm>
            <a:off x="1228452" y="1304378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612783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3" name="Content Placeholder 13"/>
          <p:cNvSpPr>
            <a:spLocks noGrp="1"/>
          </p:cNvSpPr>
          <p:nvPr>
            <p:ph sz="quarter" idx="20"/>
          </p:nvPr>
        </p:nvSpPr>
        <p:spPr>
          <a:xfrm>
            <a:off x="3409680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4794025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5" name="Content Placeholder 13"/>
          <p:cNvSpPr>
            <a:spLocks noGrp="1"/>
          </p:cNvSpPr>
          <p:nvPr>
            <p:ph sz="quarter" idx="22"/>
          </p:nvPr>
        </p:nvSpPr>
        <p:spPr>
          <a:xfrm>
            <a:off x="5590946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75267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7" name="Content Placeholder 13"/>
          <p:cNvSpPr>
            <a:spLocks noGrp="1"/>
          </p:cNvSpPr>
          <p:nvPr>
            <p:ph sz="quarter" idx="24"/>
          </p:nvPr>
        </p:nvSpPr>
        <p:spPr>
          <a:xfrm>
            <a:off x="7772169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9" name="Content Placeholder 13"/>
          <p:cNvSpPr>
            <a:spLocks noGrp="1"/>
          </p:cNvSpPr>
          <p:nvPr>
            <p:ph sz="quarter" idx="26"/>
          </p:nvPr>
        </p:nvSpPr>
        <p:spPr>
          <a:xfrm>
            <a:off x="1228452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612783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1" name="Content Placeholder 13"/>
          <p:cNvSpPr>
            <a:spLocks noGrp="1"/>
          </p:cNvSpPr>
          <p:nvPr>
            <p:ph sz="quarter" idx="28"/>
          </p:nvPr>
        </p:nvSpPr>
        <p:spPr>
          <a:xfrm>
            <a:off x="3409680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2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94025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3" name="Content Placeholder 13"/>
          <p:cNvSpPr>
            <a:spLocks noGrp="1"/>
          </p:cNvSpPr>
          <p:nvPr>
            <p:ph sz="quarter" idx="30"/>
          </p:nvPr>
        </p:nvSpPr>
        <p:spPr>
          <a:xfrm>
            <a:off x="5590946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975267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5" name="Content Placeholder 13"/>
          <p:cNvSpPr>
            <a:spLocks noGrp="1"/>
          </p:cNvSpPr>
          <p:nvPr>
            <p:ph sz="quarter" idx="32"/>
          </p:nvPr>
        </p:nvSpPr>
        <p:spPr>
          <a:xfrm>
            <a:off x="7772169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6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7" name="Content Placeholder 13"/>
          <p:cNvSpPr>
            <a:spLocks noGrp="1"/>
          </p:cNvSpPr>
          <p:nvPr>
            <p:ph sz="quarter" idx="34"/>
          </p:nvPr>
        </p:nvSpPr>
        <p:spPr>
          <a:xfrm>
            <a:off x="1228452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8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2612783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9" name="Content Placeholder 13"/>
          <p:cNvSpPr>
            <a:spLocks noGrp="1"/>
          </p:cNvSpPr>
          <p:nvPr>
            <p:ph sz="quarter" idx="36"/>
          </p:nvPr>
        </p:nvSpPr>
        <p:spPr>
          <a:xfrm>
            <a:off x="3409680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0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794025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1" name="Content Placeholder 13"/>
          <p:cNvSpPr>
            <a:spLocks noGrp="1"/>
          </p:cNvSpPr>
          <p:nvPr>
            <p:ph sz="quarter" idx="38"/>
          </p:nvPr>
        </p:nvSpPr>
        <p:spPr>
          <a:xfrm>
            <a:off x="5590946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975267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3" name="Content Placeholder 13"/>
          <p:cNvSpPr>
            <a:spLocks noGrp="1"/>
          </p:cNvSpPr>
          <p:nvPr>
            <p:ph sz="quarter" idx="40"/>
          </p:nvPr>
        </p:nvSpPr>
        <p:spPr>
          <a:xfrm>
            <a:off x="7772169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41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2419425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487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3" name="Content Placeholder 13"/>
          <p:cNvSpPr>
            <a:spLocks noGrp="1"/>
          </p:cNvSpPr>
          <p:nvPr>
            <p:ph sz="quarter" idx="18"/>
          </p:nvPr>
        </p:nvSpPr>
        <p:spPr>
          <a:xfrm>
            <a:off x="1228437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0487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5" name="Content Placeholder 13"/>
          <p:cNvSpPr>
            <a:spLocks noGrp="1"/>
          </p:cNvSpPr>
          <p:nvPr>
            <p:ph sz="quarter" idx="20"/>
          </p:nvPr>
        </p:nvSpPr>
        <p:spPr>
          <a:xfrm>
            <a:off x="4069975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0487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22"/>
          </p:nvPr>
        </p:nvSpPr>
        <p:spPr>
          <a:xfrm>
            <a:off x="6911512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4018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9" name="Content Placeholder 13"/>
          <p:cNvSpPr>
            <a:spLocks noGrp="1"/>
          </p:cNvSpPr>
          <p:nvPr>
            <p:ph sz="quarter" idx="26"/>
          </p:nvPr>
        </p:nvSpPr>
        <p:spPr>
          <a:xfrm>
            <a:off x="1228437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44018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7" name="Content Placeholder 13"/>
          <p:cNvSpPr>
            <a:spLocks noGrp="1"/>
          </p:cNvSpPr>
          <p:nvPr>
            <p:ph sz="quarter" idx="28"/>
          </p:nvPr>
        </p:nvSpPr>
        <p:spPr>
          <a:xfrm>
            <a:off x="4069975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44018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0" name="Content Placeholder 13"/>
          <p:cNvSpPr>
            <a:spLocks noGrp="1"/>
          </p:cNvSpPr>
          <p:nvPr>
            <p:ph sz="quarter" idx="30"/>
          </p:nvPr>
        </p:nvSpPr>
        <p:spPr>
          <a:xfrm>
            <a:off x="6911512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7550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2" name="Content Placeholder 13"/>
          <p:cNvSpPr>
            <a:spLocks noGrp="1"/>
          </p:cNvSpPr>
          <p:nvPr>
            <p:ph sz="quarter" idx="34"/>
          </p:nvPr>
        </p:nvSpPr>
        <p:spPr>
          <a:xfrm>
            <a:off x="1228437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70244" y="357550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4" name="Content Placeholder 13"/>
          <p:cNvSpPr>
            <a:spLocks noGrp="1"/>
          </p:cNvSpPr>
          <p:nvPr>
            <p:ph sz="quarter" idx="36"/>
          </p:nvPr>
        </p:nvSpPr>
        <p:spPr>
          <a:xfrm>
            <a:off x="4069975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108947" y="3575506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6" name="Content Placeholder 13"/>
          <p:cNvSpPr>
            <a:spLocks noGrp="1"/>
          </p:cNvSpPr>
          <p:nvPr>
            <p:ph sz="quarter" idx="38"/>
          </p:nvPr>
        </p:nvSpPr>
        <p:spPr>
          <a:xfrm>
            <a:off x="6911512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9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6746768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228437" y="1302230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4069975" y="1302230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6911512" y="1302230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/>
          </p:nvPr>
        </p:nvSpPr>
        <p:spPr>
          <a:xfrm>
            <a:off x="1228437" y="2987321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9872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/>
          </p:nvPr>
        </p:nvSpPr>
        <p:spPr>
          <a:xfrm>
            <a:off x="4069975" y="2987321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98727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/>
          </p:nvPr>
        </p:nvSpPr>
        <p:spPr>
          <a:xfrm>
            <a:off x="6911512" y="2987321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1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7844494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721538" y="1302230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709852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6002681" y="1302230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78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/>
          </p:nvPr>
        </p:nvSpPr>
        <p:spPr>
          <a:xfrm>
            <a:off x="1721538" y="2987321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709852" y="2987278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/>
          </p:nvPr>
        </p:nvSpPr>
        <p:spPr>
          <a:xfrm>
            <a:off x="6002681" y="2987321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9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0042198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93773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5152" y="1193773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8"/>
          </p:nvPr>
        </p:nvSpPr>
        <p:spPr>
          <a:xfrm>
            <a:off x="430932" y="3674371"/>
            <a:ext cx="4067916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3674371"/>
            <a:ext cx="4065628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2000" y="2441762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45152" y="2441762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7666008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79507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431557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918210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3270332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756913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6108972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6817585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39452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2642365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4745243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/>
          </p:nvPr>
        </p:nvSpPr>
        <p:spPr>
          <a:xfrm>
            <a:off x="6848151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827584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030014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7131229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928799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1640823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968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885248089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9625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b="1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1540" y="210015"/>
            <a:ext cx="828092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97799210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b="1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333522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b="1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4370664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8539372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altLang="en-US" dirty="0"/>
              <a:t>Cover Slid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3839130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3550130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93770229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540" y="123526"/>
            <a:ext cx="8280920" cy="613171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755304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108931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54478739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789594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73062278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numCol="2" spcCol="205740">
            <a:normAutofit/>
          </a:bodyPr>
          <a:lstStyle>
            <a:lvl1pPr marL="0" indent="0">
              <a:spcBef>
                <a:spcPts val="900"/>
              </a:spcBef>
              <a:buNone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71446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 marL="357179" indent="-185733">
              <a:spcBef>
                <a:spcPts val="900"/>
              </a:spcBef>
              <a:buFont typeface="Open Sans Light" panose="020B0306030504020204" pitchFamily="34" charset="0"/>
              <a:buChar char="–"/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 marL="514337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 marL="685783" indent="-171446">
              <a:spcBef>
                <a:spcPts val="900"/>
              </a:spcBef>
              <a:buFont typeface="Open Sans Light" panose="020B0306030504020204" pitchFamily="34" charset="0"/>
              <a:buChar char="–"/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6094030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1089316"/>
            <a:ext cx="8280920" cy="3470672"/>
          </a:xfrm>
        </p:spPr>
        <p:txBody>
          <a:bodyPr numCol="2" spcCol="205740">
            <a:normAutofit/>
          </a:bodyPr>
          <a:lstStyle>
            <a:lvl1pPr marL="0" indent="0">
              <a:spcBef>
                <a:spcPts val="900"/>
              </a:spcBef>
              <a:buNone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71446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 marL="342892" indent="-171446">
              <a:spcBef>
                <a:spcPts val="900"/>
              </a:spcBef>
              <a:buFont typeface="Open Sans Light" panose="020B0306030504020204" pitchFamily="34" charset="0"/>
              <a:buChar char="–"/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 marL="514337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 marL="685783" indent="-171446">
              <a:spcBef>
                <a:spcPts val="900"/>
              </a:spcBef>
              <a:buFont typeface="Open Sans Light" panose="020B0306030504020204" pitchFamily="34" charset="0"/>
              <a:buChar char="–"/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725284422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540" y="1089316"/>
            <a:ext cx="4064260" cy="3394472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75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89316"/>
            <a:ext cx="4064260" cy="3394472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75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003459990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7930277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764743423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9767603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286762" y="0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73524" y="0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0286" y="0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564892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286762" y="2564892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573524" y="2564892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860286" y="2564892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9289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828229" y="0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656457" y="0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484686" y="0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312914" y="0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1711071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828229" y="1711071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656457" y="1711071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484686" y="1711071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312914" y="1711071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3422142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828229" y="3422142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3656457" y="3422142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484686" y="3422142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312914" y="3422142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5217157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521562" y="0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043124" y="0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564685" y="0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607808" y="0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086247" y="0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282446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521562" y="1282446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3043124" y="1282446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564685" y="1282446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7607808" y="1282446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086247" y="1282446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2564892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1521562" y="2564892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3043124" y="2564892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564685" y="2564892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7607808" y="2564892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086247" y="2564892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3847338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1521562" y="3847338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043124" y="3847338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4564685" y="3847338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607808" y="3847338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6086247" y="3847338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115170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98"/>
            <a:ext cx="1828800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1220" y="1047798"/>
            <a:ext cx="1828800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0440" y="1047798"/>
            <a:ext cx="1828800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79660" y="1047798"/>
            <a:ext cx="1828800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35424"/>
            <a:ext cx="1828800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81220" y="3735424"/>
            <a:ext cx="1828800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739320" y="3735424"/>
            <a:ext cx="1828800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79660" y="3735424"/>
            <a:ext cx="1828800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0350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134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372092916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98"/>
            <a:ext cx="249631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047798"/>
            <a:ext cx="249631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1047798"/>
            <a:ext cx="249631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35424"/>
            <a:ext cx="2496312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323844" y="3735424"/>
            <a:ext cx="2496312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208822" y="3735424"/>
            <a:ext cx="2496312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4097481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540" y="210019"/>
            <a:ext cx="828092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3108" y="1047798"/>
            <a:ext cx="249631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047798"/>
            <a:ext cx="249631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9608" y="1047798"/>
            <a:ext cx="249631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3108" y="3735424"/>
            <a:ext cx="2496312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323844" y="3735424"/>
            <a:ext cx="2496312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219608" y="3735424"/>
            <a:ext cx="2496312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892065563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1"/>
            <a:ext cx="4067992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047751"/>
            <a:ext cx="4067991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2895786"/>
            <a:ext cx="4067992" cy="16201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644021" y="2895786"/>
            <a:ext cx="4067991" cy="16201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8348960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54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181210"/>
            <a:ext cx="406845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5" y="1181210"/>
            <a:ext cx="4067531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1540" y="3868837"/>
            <a:ext cx="4068452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644015" y="3868837"/>
            <a:ext cx="4067531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841009341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540" y="210019"/>
            <a:ext cx="828092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047750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91780" y="1047750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58662" y="1047750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83660" y="1047750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431540" y="2291462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591018" y="2291462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757138" y="2291462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881374" y="2291462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886521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175022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175022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175022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175022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2418734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6238" y="2418734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6676" y="2418734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7114" y="2418734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151805815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5700" y="1139018"/>
            <a:ext cx="2496312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39018"/>
            <a:ext cx="2496312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27728" y="1139018"/>
            <a:ext cx="2496312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445700" y="2382731"/>
            <a:ext cx="2496312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2382731"/>
            <a:ext cx="2496312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6227728" y="2382731"/>
            <a:ext cx="2496312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880984751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67594"/>
            <a:ext cx="4067992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167594"/>
            <a:ext cx="4067991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432076" y="2411306"/>
            <a:ext cx="4066772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4645169" y="2411306"/>
            <a:ext cx="4066771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069468314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038" y="1047750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6238" y="1047750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7438" y="1047750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8638" y="1047750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038" y="3537755"/>
            <a:ext cx="1831086" cy="994954"/>
          </a:xfrm>
        </p:spPr>
        <p:txBody>
          <a:bodyPr/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5476" y="3537755"/>
            <a:ext cx="1831086" cy="994954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5914" y="3537755"/>
            <a:ext cx="1831086" cy="994954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6352" y="3537755"/>
            <a:ext cx="1831086" cy="994954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685038" y="2292753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666238" y="2292753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47438" y="2292753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628638" y="2292753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957012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8032" y="1175025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9232" y="1175025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50432" y="1175025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31632" y="1175025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8032" y="3665028"/>
            <a:ext cx="1831086" cy="994954"/>
          </a:xfrm>
        </p:spPr>
        <p:txBody>
          <a:bodyPr/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8470" y="3665028"/>
            <a:ext cx="1831086" cy="994954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8908" y="3665028"/>
            <a:ext cx="1831086" cy="994954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9346" y="3665028"/>
            <a:ext cx="1831086" cy="994954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688032" y="2420028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669232" y="2420028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50432" y="2420028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631632" y="2420028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3453332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590219172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3668300"/>
            <a:ext cx="2496312" cy="1027686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668300"/>
            <a:ext cx="2496312" cy="1027686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5961888" y="3668300"/>
            <a:ext cx="2496312" cy="1027686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85800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323844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961888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423307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0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5152" y="1047750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430932" y="3528352"/>
            <a:ext cx="4067916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3528352"/>
            <a:ext cx="4065628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2000" y="2295739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45152" y="2295739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573665607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1172369"/>
            <a:ext cx="1475656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137606" y="1172369"/>
            <a:ext cx="1475656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833458" y="1172369"/>
            <a:ext cx="1475656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529310" y="1172369"/>
            <a:ext cx="1475656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41765" y="3684905"/>
            <a:ext cx="1477501" cy="687093"/>
          </a:xfrm>
          <a:solidFill>
            <a:srgbClr val="00B0F0"/>
          </a:solidFill>
        </p:spPr>
        <p:txBody>
          <a:bodyPr wrap="square" lIns="72000" tIns="72000" rIns="72000" bIns="7200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137611" y="3684905"/>
            <a:ext cx="1477501" cy="687093"/>
          </a:xfrm>
          <a:solidFill>
            <a:srgbClr val="CF423F"/>
          </a:solidFill>
        </p:spPr>
        <p:txBody>
          <a:bodyPr wrap="square" lIns="72000" tIns="72000" rIns="72000" bIns="7200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3833465" y="3684905"/>
            <a:ext cx="1477501" cy="687093"/>
          </a:xfrm>
          <a:solidFill>
            <a:srgbClr val="D2326B"/>
          </a:solidFill>
        </p:spPr>
        <p:txBody>
          <a:bodyPr wrap="square" lIns="72000" tIns="72000" rIns="72000" bIns="7200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5529316" y="3684905"/>
            <a:ext cx="1477501" cy="687093"/>
          </a:xfrm>
          <a:solidFill>
            <a:srgbClr val="F49D00"/>
          </a:solidFill>
        </p:spPr>
        <p:txBody>
          <a:bodyPr wrap="square" lIns="72000" tIns="72000" rIns="72000" bIns="7200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222876" y="1172369"/>
            <a:ext cx="1475656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43"/>
          </p:nvPr>
        </p:nvSpPr>
        <p:spPr>
          <a:xfrm>
            <a:off x="7222878" y="3684905"/>
            <a:ext cx="1477501" cy="687093"/>
          </a:xfrm>
          <a:solidFill>
            <a:srgbClr val="00B888"/>
          </a:solidFill>
        </p:spPr>
        <p:txBody>
          <a:bodyPr wrap="square" lIns="72000" tIns="72000" rIns="72000" bIns="7200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44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130058726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344" y="1132095"/>
            <a:ext cx="249631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213864" y="1136364"/>
            <a:ext cx="249631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132095"/>
            <a:ext cx="249631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344" y="3820816"/>
            <a:ext cx="2496312" cy="510909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213864" y="3825085"/>
            <a:ext cx="2496312" cy="510909"/>
          </a:xfrm>
          <a:solidFill>
            <a:srgbClr val="CF423F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961888" y="3820816"/>
            <a:ext cx="2496312" cy="510909"/>
          </a:xfrm>
          <a:solidFill>
            <a:srgbClr val="D2326B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682285532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0"/>
            <a:ext cx="406799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047750"/>
            <a:ext cx="4067991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3702615"/>
            <a:ext cx="4066772" cy="544765"/>
          </a:xfrm>
          <a:solidFill>
            <a:srgbClr val="00B0F0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69" y="3702615"/>
            <a:ext cx="4066771" cy="544765"/>
          </a:xfrm>
          <a:solidFill>
            <a:srgbClr val="CF423F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688456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24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28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832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32000" y="2408945"/>
            <a:ext cx="1831086" cy="729430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582400" y="2408945"/>
            <a:ext cx="1831086" cy="729430"/>
          </a:xfrm>
          <a:solidFill>
            <a:srgbClr val="CF423F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730514" y="2408945"/>
            <a:ext cx="1831086" cy="729430"/>
          </a:xfrm>
          <a:solidFill>
            <a:srgbClr val="D2326B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880914" y="2408945"/>
            <a:ext cx="1831086" cy="729430"/>
          </a:xfrm>
          <a:solidFill>
            <a:srgbClr val="F49D0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432000" y="3266849"/>
            <a:ext cx="1831086" cy="128516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2582400" y="3266849"/>
            <a:ext cx="1831086" cy="128516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4730514" y="3266849"/>
            <a:ext cx="1831086" cy="128516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6880914" y="3266849"/>
            <a:ext cx="1831086" cy="128516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974701164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343290"/>
            <a:ext cx="2496312" cy="803297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343290"/>
            <a:ext cx="2496312" cy="803297"/>
          </a:xfrm>
          <a:solidFill>
            <a:srgbClr val="CF423F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343290"/>
            <a:ext cx="2496312" cy="803297"/>
          </a:xfrm>
          <a:solidFill>
            <a:srgbClr val="D2326B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435540" y="3274955"/>
            <a:ext cx="2496312" cy="1313019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28588" indent="-128588">
              <a:buFont typeface="Arial" panose="020B0604020202020204" pitchFamily="34" charset="0"/>
              <a:buChar char="•"/>
              <a:defRPr sz="1100"/>
            </a:lvl2pPr>
            <a:lvl3pPr marL="257175" indent="-128588">
              <a:defRPr sz="1100"/>
            </a:lvl3pPr>
            <a:lvl4pPr marL="385763" indent="-128588"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274955"/>
            <a:ext cx="2496312" cy="1313019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/>
            </a:lvl2pPr>
            <a:lvl3pPr marL="257175" indent="-128588">
              <a:buClr>
                <a:schemeClr val="accent4"/>
              </a:buClr>
              <a:defRPr sz="1100"/>
            </a:lvl3pPr>
            <a:lvl4pPr marL="385763" indent="-128588">
              <a:buClr>
                <a:schemeClr val="accent4"/>
              </a:buClr>
              <a:defRPr sz="1100"/>
            </a:lvl4pPr>
            <a:lvl5pPr>
              <a:buClr>
                <a:schemeClr val="accent4"/>
              </a:buCl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6215688" y="3274955"/>
            <a:ext cx="2496312" cy="1313019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/>
            </a:lvl2pPr>
            <a:lvl3pPr marL="257175" indent="-128588">
              <a:buClr>
                <a:schemeClr val="accent3"/>
              </a:buClr>
              <a:defRPr sz="1100"/>
            </a:lvl3pPr>
            <a:lvl4pPr marL="385763" indent="-128588">
              <a:buClr>
                <a:schemeClr val="accent3"/>
              </a:buClr>
              <a:defRPr sz="1100"/>
            </a:lvl4pPr>
            <a:lvl5pPr>
              <a:buClr>
                <a:schemeClr val="accent3"/>
              </a:buCl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56277138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10477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0477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0477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486084"/>
            <a:ext cx="2496312" cy="544765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486084"/>
            <a:ext cx="2496312" cy="544765"/>
          </a:xfrm>
          <a:solidFill>
            <a:srgbClr val="CF423F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486084"/>
            <a:ext cx="2496312" cy="544765"/>
          </a:xfrm>
          <a:solidFill>
            <a:srgbClr val="D2326B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Content Placeholder 13"/>
          <p:cNvSpPr>
            <a:spLocks noGrp="1"/>
          </p:cNvSpPr>
          <p:nvPr>
            <p:ph sz="quarter" idx="18"/>
          </p:nvPr>
        </p:nvSpPr>
        <p:spPr>
          <a:xfrm>
            <a:off x="435540" y="3159230"/>
            <a:ext cx="2496312" cy="131301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159230"/>
            <a:ext cx="2496312" cy="131301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13"/>
          <p:cNvSpPr>
            <a:spLocks noGrp="1"/>
          </p:cNvSpPr>
          <p:nvPr>
            <p:ph sz="quarter" idx="20"/>
          </p:nvPr>
        </p:nvSpPr>
        <p:spPr>
          <a:xfrm>
            <a:off x="6215688" y="3159230"/>
            <a:ext cx="2496312" cy="131301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895526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67596"/>
            <a:ext cx="406799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167596"/>
            <a:ext cx="4067991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2578181"/>
            <a:ext cx="4066772" cy="572464"/>
          </a:xfrm>
          <a:solidFill>
            <a:srgbClr val="00B0F0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2578181"/>
            <a:ext cx="4066770" cy="572464"/>
          </a:xfrm>
          <a:solidFill>
            <a:srgbClr val="CF423F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432076" y="3279073"/>
            <a:ext cx="4066772" cy="127730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645169" y="3279073"/>
            <a:ext cx="4066771" cy="127730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086273455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29550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1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52" y="1295500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612783" y="129550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4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3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409680" y="1295500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4794025" y="129550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5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5590946" y="1295500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75267" y="129550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7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7772169" y="1295500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3081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9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52" y="2430818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612783" y="243081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1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3409680" y="2430818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2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94025" y="243081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3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5590946" y="2430818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975267" y="243081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5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7772169" y="2430818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6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6613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7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228452" y="3566136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8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2612783" y="356613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6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9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3409680" y="3566136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0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794025" y="356613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1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5590946" y="3566136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2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975267" y="356613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3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7772169" y="3566136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82404211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60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802660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952408939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31504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7" y="1331504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31504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4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069975" y="1331504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31504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911512" y="1331504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66823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9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7" y="2466822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466823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7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069975" y="2466822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8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46682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0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6911512" y="2466822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60214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228437" y="3602140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70244" y="360214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6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069975" y="3602140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108947" y="360214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6911512" y="3602140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00229345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7" y="1302234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069975" y="1302234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911512" y="1302234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7" y="2987325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9872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4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069975" y="2987325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98727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6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6911512" y="2987325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83378413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721538" y="1302234"/>
            <a:ext cx="2669009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709852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6002681" y="1302234"/>
            <a:ext cx="2669009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78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721538" y="2987325"/>
            <a:ext cx="2669009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709852" y="2987278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4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6002681" y="2987325"/>
            <a:ext cx="2669009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9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005130752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173186" y="1284629"/>
            <a:ext cx="1049445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431557" y="2497528"/>
            <a:ext cx="2532703" cy="1802414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011968" y="1284629"/>
            <a:ext cx="1049445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270340" y="2497528"/>
            <a:ext cx="2532703" cy="1802414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850601" y="1284626"/>
            <a:ext cx="1049445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108972" y="2497528"/>
            <a:ext cx="2532703" cy="1802414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76730474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6213" y="1356635"/>
            <a:ext cx="1049445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39452" y="2569537"/>
            <a:ext cx="1802967" cy="1802414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019126" y="1356635"/>
            <a:ext cx="1049445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2642365" y="2569537"/>
            <a:ext cx="1802967" cy="1802414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5122004" y="1356635"/>
            <a:ext cx="1049445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4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4745243" y="2569537"/>
            <a:ext cx="1802967" cy="1802414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224912" y="1356635"/>
            <a:ext cx="1049445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6848151" y="2569537"/>
            <a:ext cx="1802967" cy="1802414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44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595631324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51569"/>
            <a:ext cx="1874440" cy="265176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484564" y="951569"/>
            <a:ext cx="1976081" cy="2651760"/>
          </a:xfrm>
        </p:spPr>
        <p:txBody>
          <a:bodyPr>
            <a:noAutofit/>
          </a:bodyPr>
          <a:lstStyle>
            <a:lvl1pPr marL="0" indent="0">
              <a:buNone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113110" indent="-113110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01229" indent="-155972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4pPr>
            <a:lvl5pPr marL="571486" indent="-171446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32001" y="3735424"/>
            <a:ext cx="4028640" cy="719138"/>
          </a:xfrm>
        </p:spPr>
        <p:txBody>
          <a:bodyPr>
            <a:noAutofit/>
          </a:bodyPr>
          <a:lstStyle>
            <a:lvl1pPr marL="0" indent="0">
              <a:buNone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228594" indent="-114297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400040" indent="-171446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4pPr>
            <a:lvl5pPr marL="571486" indent="-171446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93479" y="3735424"/>
            <a:ext cx="4018521" cy="719138"/>
          </a:xfrm>
        </p:spPr>
        <p:txBody>
          <a:bodyPr>
            <a:noAutofit/>
          </a:bodyPr>
          <a:lstStyle>
            <a:lvl1pPr marL="0" indent="0">
              <a:buNone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228594" indent="-114297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400040" indent="-171446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4pPr>
            <a:lvl5pPr marL="571486" indent="-171446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82068" y="951569"/>
            <a:ext cx="1874440" cy="265176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734634" y="951569"/>
            <a:ext cx="1976081" cy="2651760"/>
          </a:xfrm>
        </p:spPr>
        <p:txBody>
          <a:bodyPr>
            <a:noAutofit/>
          </a:bodyPr>
          <a:lstStyle>
            <a:lvl1pPr marL="0" indent="0">
              <a:buNone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113110" indent="-113110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01229" indent="-155972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4pPr>
            <a:lvl5pPr marL="571486" indent="-171446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4523586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gradFill>
          <a:gsLst>
            <a:gs pos="0">
              <a:schemeClr val="accent1"/>
            </a:gs>
            <a:gs pos="100000">
              <a:schemeClr val="accent5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9053944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gradFill>
          <a:gsLst>
            <a:gs pos="0">
              <a:schemeClr val="accent1"/>
            </a:gs>
            <a:gs pos="100000">
              <a:schemeClr val="accent5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8"/>
            <a:ext cx="9144000" cy="5143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1540" y="210019"/>
            <a:ext cx="828092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577929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gradFill>
          <a:gsLst>
            <a:gs pos="0">
              <a:schemeClr val="accent1"/>
            </a:gs>
            <a:gs pos="100000">
              <a:schemeClr val="accent5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8"/>
            <a:ext cx="9144000" cy="5143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19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007764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bg>
      <p:bgPr>
        <a:gradFill>
          <a:gsLst>
            <a:gs pos="0">
              <a:schemeClr val="accent1"/>
            </a:gs>
            <a:gs pos="100000">
              <a:schemeClr val="accent5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8"/>
            <a:ext cx="9144000" cy="5143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7209338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283698239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3574381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26736199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62074312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1189312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6188379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31540" y="1189312"/>
            <a:ext cx="4068452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/>
          </p:nvPr>
        </p:nvSpPr>
        <p:spPr>
          <a:xfrm>
            <a:off x="4644008" y="1189312"/>
            <a:ext cx="4068452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00714772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5838821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1669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7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362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267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72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39617465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139515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286762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73524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0286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286762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573524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860286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4172289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285329470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828229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656457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484686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312914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828229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656457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484686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312914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828229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3656457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484686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312914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66019509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521562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043124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564685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607808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086247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521562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3043124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564685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1521562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3043124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564685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7607808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086247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1521562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043124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4564685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607808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6086247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82131003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122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044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7966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8122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73932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7966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6742904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0655286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03641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203641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1203641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651105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15566"/>
            <a:ext cx="4067992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915566"/>
            <a:ext cx="4067991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44008" y="2643759"/>
            <a:ext cx="40680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2643759"/>
            <a:ext cx="40680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6022954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03598"/>
            <a:ext cx="4067992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203598"/>
            <a:ext cx="4067991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44008" y="2931790"/>
            <a:ext cx="40680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2931790"/>
            <a:ext cx="40680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5884548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56083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80166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04248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32000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556083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80166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804248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56083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80166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04248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3395563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56083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80166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04248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32000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556083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80166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804248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56083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80166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04248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2300947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431540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323844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215688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579862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579862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579862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410199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9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338866661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10866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2099969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377373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3767938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9"/>
          </p:nvPr>
        </p:nvSpPr>
        <p:spPr>
          <a:xfrm>
            <a:off x="543880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50"/>
          </p:nvPr>
        </p:nvSpPr>
        <p:spPr>
          <a:xfrm>
            <a:off x="5435907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51"/>
          </p:nvPr>
        </p:nvSpPr>
        <p:spPr>
          <a:xfrm>
            <a:off x="710387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52"/>
          </p:nvPr>
        </p:nvSpPr>
        <p:spPr>
          <a:xfrm>
            <a:off x="7103878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7959915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10866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2099969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377373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3767938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9"/>
          </p:nvPr>
        </p:nvSpPr>
        <p:spPr>
          <a:xfrm>
            <a:off x="543880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50"/>
          </p:nvPr>
        </p:nvSpPr>
        <p:spPr>
          <a:xfrm>
            <a:off x="5435907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51"/>
          </p:nvPr>
        </p:nvSpPr>
        <p:spPr>
          <a:xfrm>
            <a:off x="710387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52"/>
          </p:nvPr>
        </p:nvSpPr>
        <p:spPr>
          <a:xfrm>
            <a:off x="7103878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2562805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61992" y="1200150"/>
            <a:ext cx="4104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4644713" y="1200150"/>
            <a:ext cx="4104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4635309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7405415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442945" y="3292475"/>
            <a:ext cx="4105275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/>
          </a:p>
        </p:txBody>
      </p:sp>
      <p:sp>
        <p:nvSpPr>
          <p:cNvPr id="9" name="Rectangle 8"/>
          <p:cNvSpPr/>
          <p:nvPr/>
        </p:nvSpPr>
        <p:spPr>
          <a:xfrm>
            <a:off x="4643464" y="3292475"/>
            <a:ext cx="4105275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6"/>
            <a:ext cx="4104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4644008" y="915566"/>
            <a:ext cx="4104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4635309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575931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42920" y="3292475"/>
            <a:ext cx="2700337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/>
          </a:p>
        </p:txBody>
      </p:sp>
      <p:sp>
        <p:nvSpPr>
          <p:cNvPr id="11" name="Rectangle 10"/>
          <p:cNvSpPr/>
          <p:nvPr/>
        </p:nvSpPr>
        <p:spPr>
          <a:xfrm>
            <a:off x="3228975" y="3292475"/>
            <a:ext cx="2700338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/>
          </a:p>
        </p:txBody>
      </p:sp>
      <p:sp>
        <p:nvSpPr>
          <p:cNvPr id="12" name="Rectangle 11"/>
          <p:cNvSpPr/>
          <p:nvPr/>
        </p:nvSpPr>
        <p:spPr>
          <a:xfrm>
            <a:off x="6013450" y="3292475"/>
            <a:ext cx="2700338" cy="431800"/>
          </a:xfrm>
          <a:prstGeom prst="rect">
            <a:avLst/>
          </a:prstGeom>
          <a:solidFill>
            <a:srgbClr val="1D6E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3228919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322022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6014239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6008439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5431990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42920" y="3292475"/>
            <a:ext cx="2700337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/>
          </a:p>
        </p:txBody>
      </p:sp>
      <p:sp>
        <p:nvSpPr>
          <p:cNvPr id="10" name="Rectangle 9"/>
          <p:cNvSpPr/>
          <p:nvPr/>
        </p:nvSpPr>
        <p:spPr>
          <a:xfrm>
            <a:off x="3228975" y="3292475"/>
            <a:ext cx="2700338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/>
          </a:p>
        </p:txBody>
      </p:sp>
      <p:sp>
        <p:nvSpPr>
          <p:cNvPr id="11" name="Rectangle 10"/>
          <p:cNvSpPr/>
          <p:nvPr/>
        </p:nvSpPr>
        <p:spPr>
          <a:xfrm>
            <a:off x="6013450" y="3292475"/>
            <a:ext cx="2700338" cy="431800"/>
          </a:xfrm>
          <a:prstGeom prst="rect">
            <a:avLst/>
          </a:prstGeom>
          <a:solidFill>
            <a:srgbClr val="1D6E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3228919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322022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6014239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6008439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053127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0"/>
            <a:ext cx="406799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047750"/>
            <a:ext cx="4067991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3924231"/>
            <a:ext cx="4066772" cy="323165"/>
          </a:xfrm>
          <a:solidFill>
            <a:srgbClr val="0065A4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69" y="3924231"/>
            <a:ext cx="4066771" cy="323165"/>
          </a:xfrm>
          <a:solidFill>
            <a:srgbClr val="8DB74A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7962490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24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28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832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32000" y="2630576"/>
            <a:ext cx="1831086" cy="507831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582400" y="2630576"/>
            <a:ext cx="1831086" cy="507831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730514" y="2630576"/>
            <a:ext cx="1831086" cy="507831"/>
          </a:xfrm>
          <a:solidFill>
            <a:srgbClr val="46B3C7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880914" y="2630576"/>
            <a:ext cx="1831086" cy="507831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432000" y="326684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24"/>
          </p:nvPr>
        </p:nvSpPr>
        <p:spPr>
          <a:xfrm>
            <a:off x="2582400" y="326684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5"/>
          </p:nvPr>
        </p:nvSpPr>
        <p:spPr>
          <a:xfrm>
            <a:off x="4730514" y="326684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6"/>
          </p:nvPr>
        </p:nvSpPr>
        <p:spPr>
          <a:xfrm>
            <a:off x="6880914" y="326684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8197603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823423"/>
            <a:ext cx="2496312" cy="323165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823423"/>
            <a:ext cx="2496312" cy="323165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823423"/>
            <a:ext cx="2496312" cy="323165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13"/>
          <p:cNvSpPr>
            <a:spLocks noGrp="1"/>
          </p:cNvSpPr>
          <p:nvPr>
            <p:ph sz="quarter" idx="18"/>
          </p:nvPr>
        </p:nvSpPr>
        <p:spPr>
          <a:xfrm>
            <a:off x="435540" y="3274955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Font typeface="Arial" panose="020B0604020202020204" pitchFamily="34" charset="0"/>
              <a:buChar char="•"/>
              <a:defRPr sz="1100"/>
            </a:lvl2pPr>
            <a:lvl3pPr marL="257175" indent="-128588">
              <a:defRPr sz="1100"/>
            </a:lvl3pPr>
            <a:lvl4pPr marL="385763" indent="-128588"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274955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/>
            </a:lvl2pPr>
            <a:lvl3pPr marL="257175" indent="-128588">
              <a:buClr>
                <a:schemeClr val="accent4"/>
              </a:buClr>
              <a:defRPr sz="1100"/>
            </a:lvl3pPr>
            <a:lvl4pPr marL="385763" indent="-128588">
              <a:buClr>
                <a:schemeClr val="accent4"/>
              </a:buClr>
              <a:defRPr sz="1100"/>
            </a:lvl4pPr>
            <a:lvl5pPr>
              <a:buClr>
                <a:schemeClr val="accent4"/>
              </a:buCl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0"/>
          </p:nvPr>
        </p:nvSpPr>
        <p:spPr>
          <a:xfrm>
            <a:off x="6215688" y="3274955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/>
            </a:lvl2pPr>
            <a:lvl3pPr marL="257175" indent="-128588">
              <a:buClr>
                <a:schemeClr val="accent3"/>
              </a:buClr>
              <a:defRPr sz="1100"/>
            </a:lvl3pPr>
            <a:lvl4pPr marL="385763" indent="-128588">
              <a:buClr>
                <a:schemeClr val="accent3"/>
              </a:buClr>
              <a:defRPr sz="1100"/>
            </a:lvl4pPr>
            <a:lvl5pPr>
              <a:buClr>
                <a:schemeClr val="accent3"/>
              </a:buCl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1678862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555294"/>
            <a:ext cx="2496312" cy="323165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555294"/>
            <a:ext cx="2496312" cy="323165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555294"/>
            <a:ext cx="2496312" cy="323165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198290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1491630"/>
            <a:ext cx="6851104" cy="1537878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35696" y="3036355"/>
            <a:ext cx="6851104" cy="56151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835612494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67596"/>
            <a:ext cx="406799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167596"/>
            <a:ext cx="4067991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2827538"/>
            <a:ext cx="4066772" cy="323165"/>
          </a:xfrm>
          <a:solidFill>
            <a:srgbClr val="0065A4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2827538"/>
            <a:ext cx="4066770" cy="323165"/>
          </a:xfrm>
          <a:solidFill>
            <a:srgbClr val="00B0F0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432076" y="3279073"/>
            <a:ext cx="4066772" cy="1277300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13"/>
          <p:cNvSpPr>
            <a:spLocks noGrp="1"/>
          </p:cNvSpPr>
          <p:nvPr>
            <p:ph sz="quarter" idx="19"/>
          </p:nvPr>
        </p:nvSpPr>
        <p:spPr>
          <a:xfrm>
            <a:off x="4645169" y="3279073"/>
            <a:ext cx="4066771" cy="1277300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7652761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1" name="Content Placeholder 13"/>
          <p:cNvSpPr>
            <a:spLocks noGrp="1"/>
          </p:cNvSpPr>
          <p:nvPr>
            <p:ph sz="quarter" idx="18"/>
          </p:nvPr>
        </p:nvSpPr>
        <p:spPr>
          <a:xfrm>
            <a:off x="1228452" y="1304378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612783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3" name="Content Placeholder 13"/>
          <p:cNvSpPr>
            <a:spLocks noGrp="1"/>
          </p:cNvSpPr>
          <p:nvPr>
            <p:ph sz="quarter" idx="20"/>
          </p:nvPr>
        </p:nvSpPr>
        <p:spPr>
          <a:xfrm>
            <a:off x="3409680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4794025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5" name="Content Placeholder 13"/>
          <p:cNvSpPr>
            <a:spLocks noGrp="1"/>
          </p:cNvSpPr>
          <p:nvPr>
            <p:ph sz="quarter" idx="22"/>
          </p:nvPr>
        </p:nvSpPr>
        <p:spPr>
          <a:xfrm>
            <a:off x="5590946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75267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7" name="Content Placeholder 13"/>
          <p:cNvSpPr>
            <a:spLocks noGrp="1"/>
          </p:cNvSpPr>
          <p:nvPr>
            <p:ph sz="quarter" idx="24"/>
          </p:nvPr>
        </p:nvSpPr>
        <p:spPr>
          <a:xfrm>
            <a:off x="7772169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9" name="Content Placeholder 13"/>
          <p:cNvSpPr>
            <a:spLocks noGrp="1"/>
          </p:cNvSpPr>
          <p:nvPr>
            <p:ph sz="quarter" idx="26"/>
          </p:nvPr>
        </p:nvSpPr>
        <p:spPr>
          <a:xfrm>
            <a:off x="1228452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612783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1" name="Content Placeholder 13"/>
          <p:cNvSpPr>
            <a:spLocks noGrp="1"/>
          </p:cNvSpPr>
          <p:nvPr>
            <p:ph sz="quarter" idx="28"/>
          </p:nvPr>
        </p:nvSpPr>
        <p:spPr>
          <a:xfrm>
            <a:off x="3409680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2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94025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3" name="Content Placeholder 13"/>
          <p:cNvSpPr>
            <a:spLocks noGrp="1"/>
          </p:cNvSpPr>
          <p:nvPr>
            <p:ph sz="quarter" idx="30"/>
          </p:nvPr>
        </p:nvSpPr>
        <p:spPr>
          <a:xfrm>
            <a:off x="5590946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975267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5" name="Content Placeholder 13"/>
          <p:cNvSpPr>
            <a:spLocks noGrp="1"/>
          </p:cNvSpPr>
          <p:nvPr>
            <p:ph sz="quarter" idx="32"/>
          </p:nvPr>
        </p:nvSpPr>
        <p:spPr>
          <a:xfrm>
            <a:off x="7772169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6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7" name="Content Placeholder 13"/>
          <p:cNvSpPr>
            <a:spLocks noGrp="1"/>
          </p:cNvSpPr>
          <p:nvPr>
            <p:ph sz="quarter" idx="34"/>
          </p:nvPr>
        </p:nvSpPr>
        <p:spPr>
          <a:xfrm>
            <a:off x="1228452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8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2612783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9" name="Content Placeholder 13"/>
          <p:cNvSpPr>
            <a:spLocks noGrp="1"/>
          </p:cNvSpPr>
          <p:nvPr>
            <p:ph sz="quarter" idx="36"/>
          </p:nvPr>
        </p:nvSpPr>
        <p:spPr>
          <a:xfrm>
            <a:off x="3409680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0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794025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1" name="Content Placeholder 13"/>
          <p:cNvSpPr>
            <a:spLocks noGrp="1"/>
          </p:cNvSpPr>
          <p:nvPr>
            <p:ph sz="quarter" idx="38"/>
          </p:nvPr>
        </p:nvSpPr>
        <p:spPr>
          <a:xfrm>
            <a:off x="5590946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975267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3" name="Content Placeholder 13"/>
          <p:cNvSpPr>
            <a:spLocks noGrp="1"/>
          </p:cNvSpPr>
          <p:nvPr>
            <p:ph sz="quarter" idx="40"/>
          </p:nvPr>
        </p:nvSpPr>
        <p:spPr>
          <a:xfrm>
            <a:off x="7772169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41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4085689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487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3" name="Content Placeholder 13"/>
          <p:cNvSpPr>
            <a:spLocks noGrp="1"/>
          </p:cNvSpPr>
          <p:nvPr>
            <p:ph sz="quarter" idx="18"/>
          </p:nvPr>
        </p:nvSpPr>
        <p:spPr>
          <a:xfrm>
            <a:off x="1228437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0487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5" name="Content Placeholder 13"/>
          <p:cNvSpPr>
            <a:spLocks noGrp="1"/>
          </p:cNvSpPr>
          <p:nvPr>
            <p:ph sz="quarter" idx="20"/>
          </p:nvPr>
        </p:nvSpPr>
        <p:spPr>
          <a:xfrm>
            <a:off x="4069975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0487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22"/>
          </p:nvPr>
        </p:nvSpPr>
        <p:spPr>
          <a:xfrm>
            <a:off x="6911512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4018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9" name="Content Placeholder 13"/>
          <p:cNvSpPr>
            <a:spLocks noGrp="1"/>
          </p:cNvSpPr>
          <p:nvPr>
            <p:ph sz="quarter" idx="26"/>
          </p:nvPr>
        </p:nvSpPr>
        <p:spPr>
          <a:xfrm>
            <a:off x="1228437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44018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7" name="Content Placeholder 13"/>
          <p:cNvSpPr>
            <a:spLocks noGrp="1"/>
          </p:cNvSpPr>
          <p:nvPr>
            <p:ph sz="quarter" idx="28"/>
          </p:nvPr>
        </p:nvSpPr>
        <p:spPr>
          <a:xfrm>
            <a:off x="4069975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44018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0" name="Content Placeholder 13"/>
          <p:cNvSpPr>
            <a:spLocks noGrp="1"/>
          </p:cNvSpPr>
          <p:nvPr>
            <p:ph sz="quarter" idx="30"/>
          </p:nvPr>
        </p:nvSpPr>
        <p:spPr>
          <a:xfrm>
            <a:off x="6911512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7550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2" name="Content Placeholder 13"/>
          <p:cNvSpPr>
            <a:spLocks noGrp="1"/>
          </p:cNvSpPr>
          <p:nvPr>
            <p:ph sz="quarter" idx="34"/>
          </p:nvPr>
        </p:nvSpPr>
        <p:spPr>
          <a:xfrm>
            <a:off x="1228437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70244" y="357550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4" name="Content Placeholder 13"/>
          <p:cNvSpPr>
            <a:spLocks noGrp="1"/>
          </p:cNvSpPr>
          <p:nvPr>
            <p:ph sz="quarter" idx="36"/>
          </p:nvPr>
        </p:nvSpPr>
        <p:spPr>
          <a:xfrm>
            <a:off x="4069975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108947" y="3575506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6" name="Content Placeholder 13"/>
          <p:cNvSpPr>
            <a:spLocks noGrp="1"/>
          </p:cNvSpPr>
          <p:nvPr>
            <p:ph sz="quarter" idx="38"/>
          </p:nvPr>
        </p:nvSpPr>
        <p:spPr>
          <a:xfrm>
            <a:off x="6911512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9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8388154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228437" y="1302230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4069975" y="1302230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6911512" y="1302230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/>
          </p:nvPr>
        </p:nvSpPr>
        <p:spPr>
          <a:xfrm>
            <a:off x="1228437" y="2987321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9872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/>
          </p:nvPr>
        </p:nvSpPr>
        <p:spPr>
          <a:xfrm>
            <a:off x="4069975" y="2987321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98727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/>
          </p:nvPr>
        </p:nvSpPr>
        <p:spPr>
          <a:xfrm>
            <a:off x="6911512" y="2987321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1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3784879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721538" y="1302230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709852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6002681" y="1302230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78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/>
          </p:nvPr>
        </p:nvSpPr>
        <p:spPr>
          <a:xfrm>
            <a:off x="1721538" y="2987321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709852" y="2987278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/>
          </p:nvPr>
        </p:nvSpPr>
        <p:spPr>
          <a:xfrm>
            <a:off x="6002681" y="2987321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9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842811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93773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5152" y="1193773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8"/>
          </p:nvPr>
        </p:nvSpPr>
        <p:spPr>
          <a:xfrm>
            <a:off x="430932" y="3674371"/>
            <a:ext cx="4067916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3674371"/>
            <a:ext cx="4065628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2000" y="2441762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45152" y="2441762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579087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79507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431557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918210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3270332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756913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6108972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0630571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39452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2642365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4745243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/>
          </p:nvPr>
        </p:nvSpPr>
        <p:spPr>
          <a:xfrm>
            <a:off x="6848151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827584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030014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7131229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928799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69930050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73364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1540" y="210015"/>
            <a:ext cx="828092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367536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65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65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30948629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968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689621981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011648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3745399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2136445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97"/>
            <a:ext cx="7772400" cy="11025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4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6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0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50" y="4874525"/>
            <a:ext cx="360040" cy="193725"/>
          </a:xfrm>
          <a:prstGeom prst="rect">
            <a:avLst/>
          </a:prstGeom>
        </p:spPr>
        <p:txBody>
          <a:bodyPr anchor="ctr"/>
          <a:lstStyle>
            <a:lvl1pPr algn="ctr">
              <a:defRPr sz="600" b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95DFD11-BE65-4EB7-BBFC-48BCDAF35AD3}" type="slidenum">
              <a:rPr lang="en-IN" smtClean="0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818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41557"/>
            <a:ext cx="8229600" cy="648073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IN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51" y="789579"/>
            <a:ext cx="8207375" cy="3564731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97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533444" y="571500"/>
            <a:ext cx="8153399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50" y="4874525"/>
            <a:ext cx="360040" cy="193725"/>
          </a:xfrm>
          <a:prstGeom prst="rect">
            <a:avLst/>
          </a:prstGeom>
        </p:spPr>
        <p:txBody>
          <a:bodyPr anchor="ctr"/>
          <a:lstStyle>
            <a:lvl1pPr algn="ctr">
              <a:defRPr sz="600" b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91D3E52-D919-4FF0-83A0-EC3008C81D47}" type="slidenum">
              <a:rPr lang="en-IN" smtClean="0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21589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50" y="4894010"/>
            <a:ext cx="360040" cy="193725"/>
          </a:xfrm>
          <a:prstGeom prst="rect">
            <a:avLst/>
          </a:prstGeom>
        </p:spPr>
        <p:txBody>
          <a:bodyPr lIns="91358" tIns="45702" rIns="91358" bIns="45702"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0355F9E-8833-4A62-BBD9-15A7B7EDA51F}" type="slidenum">
              <a:rPr lang="en-IN" smtClean="0">
                <a:solidFill>
                  <a:prstClr val="white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IN" dirty="0">
              <a:solidFill>
                <a:prstClr val="white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0362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50" y="4894010"/>
            <a:ext cx="360040" cy="193725"/>
          </a:xfrm>
          <a:prstGeom prst="rect">
            <a:avLst/>
          </a:prstGeom>
        </p:spPr>
        <p:txBody>
          <a:bodyPr lIns="91358" tIns="45702" rIns="91358" bIns="45702"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prstClr val="white"/>
                </a:solidFill>
                <a:latin typeface="Arial" charset="0"/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501115831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65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fld id="{F8D37965-ABA5-45D9-A9FE-8AB781AA637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010510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fld id="{F8D37965-ABA5-45D9-A9FE-8AB781AA637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789579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35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98069383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8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fld id="{F8D37965-ABA5-45D9-A9FE-8AB781AA637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212444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789594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06032503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6"/>
            <a:ext cx="4038600" cy="3394472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6"/>
            <a:ext cx="4038600" cy="3394472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fld id="{F8D37965-ABA5-45D9-A9FE-8AB781AA637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6334422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802648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15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1282470"/>
            <a:ext cx="4040188" cy="2963466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802648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15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282470"/>
            <a:ext cx="4041775" cy="2963466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fld id="{F8D37965-ABA5-45D9-A9FE-8AB781AA637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135299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fld id="{F8D37965-ABA5-45D9-A9FE-8AB781AA637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3613434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fld id="{F8D37965-ABA5-45D9-A9FE-8AB781AA637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0681501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15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48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fld id="{F8D37965-ABA5-45D9-A9FE-8AB781AA637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983353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47603" y="4940618"/>
            <a:ext cx="2469389" cy="161583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The information contained in this presentation is proprietary. Copyright ©2010 Capgemini. All rights reser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769438" y="4898872"/>
            <a:ext cx="238125" cy="97631"/>
          </a:xfrm>
          <a:prstGeom prst="rect">
            <a:avLst/>
          </a:prstGeom>
        </p:spPr>
        <p:txBody>
          <a:bodyPr/>
          <a:lstStyle/>
          <a:p>
            <a:fld id="{F8D37965-ABA5-45D9-A9FE-8AB781AA637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Rectangle 134"/>
          <p:cNvSpPr>
            <a:spLocks noGrp="1" noChangeArrowheads="1"/>
          </p:cNvSpPr>
          <p:nvPr>
            <p:ph type="title"/>
          </p:nvPr>
        </p:nvSpPr>
        <p:spPr bwMode="auto">
          <a:xfrm>
            <a:off x="241300" y="159547"/>
            <a:ext cx="8714232" cy="411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3970109"/>
      </p:ext>
    </p:extLst>
  </p:cSld>
  <p:clrMapOvr>
    <a:masterClrMapping/>
  </p:clrMapOvr>
  <p:transition>
    <p:wipe dir="r"/>
  </p:transition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48747494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30172679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1189312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9332282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31540" y="1189312"/>
            <a:ext cx="4068452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/>
          </p:nvPr>
        </p:nvSpPr>
        <p:spPr>
          <a:xfrm>
            <a:off x="4644008" y="1189312"/>
            <a:ext cx="4068452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932828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134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882073508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5219158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729543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7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362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267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72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32183821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1607408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297430" cy="257860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286762" y="0"/>
            <a:ext cx="2297430" cy="257860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73524" y="0"/>
            <a:ext cx="2297430" cy="257860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0286" y="0"/>
            <a:ext cx="2297430" cy="257860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564892"/>
            <a:ext cx="2297430" cy="257860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286762" y="2564892"/>
            <a:ext cx="2297430" cy="257860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573524" y="2564892"/>
            <a:ext cx="2297430" cy="257860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860286" y="2564892"/>
            <a:ext cx="2297430" cy="257860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9907682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31086" cy="172135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828230" y="0"/>
            <a:ext cx="1831086" cy="172135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656459" y="0"/>
            <a:ext cx="1831086" cy="172135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484686" y="0"/>
            <a:ext cx="1831086" cy="172135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312914" y="0"/>
            <a:ext cx="1831086" cy="172135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1711071"/>
            <a:ext cx="1831086" cy="172135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828230" y="1711071"/>
            <a:ext cx="1831086" cy="172135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656459" y="1711071"/>
            <a:ext cx="1831086" cy="172135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484686" y="1711071"/>
            <a:ext cx="1831086" cy="172135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312914" y="1711071"/>
            <a:ext cx="1831086" cy="172135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3422142"/>
            <a:ext cx="1831086" cy="172135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828230" y="3422142"/>
            <a:ext cx="1831086" cy="172135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3656459" y="3422142"/>
            <a:ext cx="1831086" cy="172135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484686" y="3422142"/>
            <a:ext cx="1831086" cy="172135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312914" y="3422142"/>
            <a:ext cx="1831086" cy="1721358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7370157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536192" cy="1296162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521562" y="0"/>
            <a:ext cx="1536192" cy="1296162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043124" y="0"/>
            <a:ext cx="1536192" cy="1296162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564685" y="0"/>
            <a:ext cx="1536192" cy="1296162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607808" y="0"/>
            <a:ext cx="1536192" cy="1296162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086247" y="0"/>
            <a:ext cx="1536192" cy="1296162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282446"/>
            <a:ext cx="1536192" cy="1296162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521562" y="1282446"/>
            <a:ext cx="1536192" cy="1296162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3043124" y="1282446"/>
            <a:ext cx="1536192" cy="1296162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564685" y="1282446"/>
            <a:ext cx="1536192" cy="1296162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2564892"/>
            <a:ext cx="1536192" cy="1296162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1521562" y="2564892"/>
            <a:ext cx="1536192" cy="1296162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3043124" y="2564892"/>
            <a:ext cx="1536192" cy="1296162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564685" y="2564892"/>
            <a:ext cx="1536192" cy="1296162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7607808" y="2564892"/>
            <a:ext cx="1536192" cy="1296162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086247" y="2564892"/>
            <a:ext cx="1536192" cy="1296162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3847338"/>
            <a:ext cx="1536192" cy="1296162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1521562" y="3847338"/>
            <a:ext cx="1536192" cy="1296162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043124" y="3847338"/>
            <a:ext cx="1536192" cy="1296162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4564685" y="3847338"/>
            <a:ext cx="1536192" cy="1296162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607808" y="3847338"/>
            <a:ext cx="1536192" cy="1296162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6086247" y="3847338"/>
            <a:ext cx="1536192" cy="1296162"/>
          </a:xfrm>
        </p:spPr>
        <p:txBody>
          <a:bodyPr lIns="137142" tIns="68571" rIns="137142" bIns="68571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00960947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2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1220" y="1047752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0440" y="1047752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79660" y="1047752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2643760"/>
            <a:ext cx="1828800" cy="201622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81220" y="2643760"/>
            <a:ext cx="1828800" cy="201622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739320" y="2643760"/>
            <a:ext cx="1828800" cy="201622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79660" y="2643760"/>
            <a:ext cx="1828800" cy="201622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8950883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003798"/>
            <a:ext cx="2494800" cy="1728192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003798"/>
            <a:ext cx="2494800" cy="1728192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003798"/>
            <a:ext cx="2494800" cy="1728192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893869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03643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203643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1203643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003798"/>
            <a:ext cx="2494800" cy="165618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003798"/>
            <a:ext cx="2494800" cy="165618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003798"/>
            <a:ext cx="2494800" cy="165618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882280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648854633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15566"/>
            <a:ext cx="4067992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915566"/>
            <a:ext cx="4067991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44008" y="2643760"/>
            <a:ext cx="4068000" cy="201622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2643760"/>
            <a:ext cx="4068000" cy="201622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5733585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03598"/>
            <a:ext cx="4067992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203598"/>
            <a:ext cx="4067991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44008" y="2931790"/>
            <a:ext cx="4068000" cy="1728192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2931790"/>
            <a:ext cx="4068000" cy="1728192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1144072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56083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80166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04248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32000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556083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80166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804248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363838"/>
            <a:ext cx="1908000" cy="129614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56083" y="3363838"/>
            <a:ext cx="1908000" cy="129614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80166" y="3363838"/>
            <a:ext cx="1908000" cy="129614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04248" y="3363838"/>
            <a:ext cx="1908000" cy="129614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0397222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56083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80166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04248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32000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556083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80166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804248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651870"/>
            <a:ext cx="1908000" cy="1008112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56083" y="3651870"/>
            <a:ext cx="1908000" cy="1008112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80166" y="3651870"/>
            <a:ext cx="1908000" cy="1008112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04248" y="3651870"/>
            <a:ext cx="1908000" cy="1008112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0961883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431540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323844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215688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579862"/>
            <a:ext cx="2494800" cy="1080120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579862"/>
            <a:ext cx="2494800" cy="1080120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579862"/>
            <a:ext cx="2494800" cy="1080120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4263673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2343150"/>
            <a:ext cx="1584000" cy="2388840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10866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2099969" y="2343150"/>
            <a:ext cx="1584000" cy="2388840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377373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3767938" y="2343150"/>
            <a:ext cx="1584000" cy="2388840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9"/>
          </p:nvPr>
        </p:nvSpPr>
        <p:spPr>
          <a:xfrm>
            <a:off x="543880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50"/>
          </p:nvPr>
        </p:nvSpPr>
        <p:spPr>
          <a:xfrm>
            <a:off x="5435907" y="2343150"/>
            <a:ext cx="1584000" cy="2388840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51"/>
          </p:nvPr>
        </p:nvSpPr>
        <p:spPr>
          <a:xfrm>
            <a:off x="710387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52"/>
          </p:nvPr>
        </p:nvSpPr>
        <p:spPr>
          <a:xfrm>
            <a:off x="7103878" y="2343150"/>
            <a:ext cx="1584000" cy="2388840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7848642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1172371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486150"/>
            <a:ext cx="1584000" cy="1245840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108668" y="1172371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2099969" y="3486150"/>
            <a:ext cx="1584000" cy="1245840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3773738" y="1172371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3767938" y="3486150"/>
            <a:ext cx="1584000" cy="1245840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9"/>
          </p:nvPr>
        </p:nvSpPr>
        <p:spPr>
          <a:xfrm>
            <a:off x="5438808" y="1172371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50"/>
          </p:nvPr>
        </p:nvSpPr>
        <p:spPr>
          <a:xfrm>
            <a:off x="5435907" y="3486150"/>
            <a:ext cx="1584000" cy="1245840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51"/>
          </p:nvPr>
        </p:nvSpPr>
        <p:spPr>
          <a:xfrm>
            <a:off x="7103878" y="1172371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52"/>
          </p:nvPr>
        </p:nvSpPr>
        <p:spPr>
          <a:xfrm>
            <a:off x="7103878" y="3486150"/>
            <a:ext cx="1584000" cy="1245840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2684969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61992" y="1200150"/>
            <a:ext cx="4104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4104000" cy="93610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4644713" y="1200150"/>
            <a:ext cx="4104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4635309" y="3795886"/>
            <a:ext cx="4104000" cy="93610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2083922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442945" y="3292475"/>
            <a:ext cx="4105275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643464" y="3292475"/>
            <a:ext cx="4105275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6"/>
            <a:ext cx="4104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4104000" cy="93610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4644008" y="915566"/>
            <a:ext cx="4104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4635309" y="3795886"/>
            <a:ext cx="4104000" cy="93610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7530986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42920" y="3292475"/>
            <a:ext cx="2700337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228975" y="3292475"/>
            <a:ext cx="2700338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13450" y="3292475"/>
            <a:ext cx="2700338" cy="431800"/>
          </a:xfrm>
          <a:prstGeom prst="rect">
            <a:avLst/>
          </a:prstGeom>
          <a:solidFill>
            <a:srgbClr val="1D6E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2700000" cy="93610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3228919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3220220" y="3795886"/>
            <a:ext cx="2700000" cy="93610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6014239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6008439" y="3795886"/>
            <a:ext cx="2700000" cy="93610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841711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60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802660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610104384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42920" y="3292475"/>
            <a:ext cx="2700337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228975" y="3292475"/>
            <a:ext cx="2700338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013450" y="3292475"/>
            <a:ext cx="2700338" cy="431800"/>
          </a:xfrm>
          <a:prstGeom prst="rect">
            <a:avLst/>
          </a:prstGeom>
          <a:solidFill>
            <a:srgbClr val="1D6E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2700000" cy="93610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3228919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3220220" y="3795886"/>
            <a:ext cx="2700000" cy="93610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6014239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6008439" y="3795886"/>
            <a:ext cx="2700000" cy="936104"/>
          </a:xfrm>
        </p:spPr>
        <p:txBody>
          <a:bodyPr>
            <a:noAutofit/>
          </a:bodyPr>
          <a:lstStyle>
            <a:lvl1pPr marL="71991" indent="-143981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83" indent="-114283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64" indent="-114283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99988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13" indent="-171424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9504976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0"/>
            <a:ext cx="406799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047750"/>
            <a:ext cx="4067991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3924232"/>
            <a:ext cx="4066772" cy="323147"/>
          </a:xfrm>
          <a:solidFill>
            <a:srgbClr val="0065A4">
              <a:alpha val="80000"/>
            </a:srgbClr>
          </a:solidFill>
        </p:spPr>
        <p:txBody>
          <a:bodyPr wrap="square" lIns="137142" tIns="68571" rIns="137142" bIns="68571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43" indent="-128571">
              <a:defRPr sz="1100">
                <a:solidFill>
                  <a:srgbClr val="FFFFFF"/>
                </a:solidFill>
              </a:defRPr>
            </a:lvl3pPr>
            <a:lvl4pPr marL="385714" indent="-128571">
              <a:defRPr sz="1100">
                <a:solidFill>
                  <a:srgbClr val="FFFFFF"/>
                </a:solidFill>
              </a:defRPr>
            </a:lvl4pPr>
            <a:lvl5pPr marL="557142" indent="-171428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69" y="3924232"/>
            <a:ext cx="4066771" cy="323147"/>
          </a:xfrm>
          <a:solidFill>
            <a:srgbClr val="8DB74A">
              <a:alpha val="80000"/>
            </a:srgbClr>
          </a:solidFill>
        </p:spPr>
        <p:txBody>
          <a:bodyPr wrap="square" lIns="137142" tIns="68571" rIns="137142" bIns="68571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43" indent="-128571">
              <a:defRPr sz="1100">
                <a:solidFill>
                  <a:srgbClr val="FFFFFF"/>
                </a:solidFill>
              </a:defRPr>
            </a:lvl3pPr>
            <a:lvl4pPr marL="385714" indent="-128571">
              <a:defRPr sz="1100">
                <a:solidFill>
                  <a:srgbClr val="FFFFFF"/>
                </a:solidFill>
              </a:defRPr>
            </a:lvl4pPr>
            <a:lvl5pPr marL="557142" indent="-171428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0724746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55326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2400" y="1155326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2800" y="1155326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83200" y="1155326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32000" y="2630606"/>
            <a:ext cx="1831086" cy="507813"/>
          </a:xfrm>
          <a:solidFill>
            <a:srgbClr val="0065A4">
              <a:alpha val="80000"/>
            </a:srgbClr>
          </a:solidFill>
        </p:spPr>
        <p:txBody>
          <a:bodyPr lIns="137142" tIns="68571" rIns="137142" bIns="68571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43" indent="-128571">
              <a:defRPr sz="1100">
                <a:solidFill>
                  <a:srgbClr val="FFFFFF"/>
                </a:solidFill>
              </a:defRPr>
            </a:lvl3pPr>
            <a:lvl4pPr marL="385714" indent="-128571">
              <a:defRPr sz="1100">
                <a:solidFill>
                  <a:srgbClr val="FFFFFF"/>
                </a:solidFill>
              </a:defRPr>
            </a:lvl4pPr>
            <a:lvl5pPr marL="557142" indent="-171428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582400" y="2630606"/>
            <a:ext cx="1831086" cy="507813"/>
          </a:xfrm>
          <a:solidFill>
            <a:srgbClr val="00B0F0">
              <a:alpha val="80000"/>
            </a:srgbClr>
          </a:solidFill>
        </p:spPr>
        <p:txBody>
          <a:bodyPr lIns="137142" tIns="68571" rIns="137142" bIns="68571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43" indent="-128571">
              <a:defRPr sz="1100">
                <a:solidFill>
                  <a:srgbClr val="FFFFFF"/>
                </a:solidFill>
              </a:defRPr>
            </a:lvl3pPr>
            <a:lvl4pPr marL="385714" indent="-128571">
              <a:defRPr sz="1100">
                <a:solidFill>
                  <a:srgbClr val="FFFFFF"/>
                </a:solidFill>
              </a:defRPr>
            </a:lvl4pPr>
            <a:lvl5pPr marL="557142" indent="-171428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730515" y="2630606"/>
            <a:ext cx="1831086" cy="507813"/>
          </a:xfrm>
          <a:solidFill>
            <a:srgbClr val="46B3C7">
              <a:alpha val="80000"/>
            </a:srgbClr>
          </a:solidFill>
        </p:spPr>
        <p:txBody>
          <a:bodyPr lIns="137142" tIns="68571" rIns="137142" bIns="68571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43" indent="-128571">
              <a:defRPr sz="1100">
                <a:solidFill>
                  <a:srgbClr val="FFFFFF"/>
                </a:solidFill>
              </a:defRPr>
            </a:lvl3pPr>
            <a:lvl4pPr marL="385714" indent="-128571">
              <a:defRPr sz="1100">
                <a:solidFill>
                  <a:srgbClr val="FFFFFF"/>
                </a:solidFill>
              </a:defRPr>
            </a:lvl4pPr>
            <a:lvl5pPr marL="557142" indent="-171428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880915" y="2630606"/>
            <a:ext cx="1831086" cy="507813"/>
          </a:xfrm>
          <a:solidFill>
            <a:srgbClr val="8DB74A">
              <a:alpha val="80000"/>
            </a:srgbClr>
          </a:solidFill>
        </p:spPr>
        <p:txBody>
          <a:bodyPr lIns="137142" tIns="68571" rIns="137142" bIns="68571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43" indent="-128571">
              <a:defRPr sz="1100">
                <a:solidFill>
                  <a:srgbClr val="FFFFFF"/>
                </a:solidFill>
              </a:defRPr>
            </a:lvl3pPr>
            <a:lvl4pPr marL="385714" indent="-128571">
              <a:defRPr sz="1100">
                <a:solidFill>
                  <a:srgbClr val="FFFFFF"/>
                </a:solidFill>
              </a:defRPr>
            </a:lvl4pPr>
            <a:lvl5pPr marL="557142" indent="-171428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432000" y="3266846"/>
            <a:ext cx="1831086" cy="1285169"/>
          </a:xfrm>
        </p:spPr>
        <p:txBody>
          <a:bodyPr>
            <a:normAutofit/>
          </a:bodyPr>
          <a:lstStyle>
            <a:lvl1pPr marL="171428" indent="-171428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71" indent="-128571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43" indent="-128571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14" indent="-128571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24"/>
          </p:nvPr>
        </p:nvSpPr>
        <p:spPr>
          <a:xfrm>
            <a:off x="2582400" y="3266846"/>
            <a:ext cx="1831086" cy="1285169"/>
          </a:xfrm>
        </p:spPr>
        <p:txBody>
          <a:bodyPr>
            <a:normAutofit/>
          </a:bodyPr>
          <a:lstStyle>
            <a:lvl1pPr marL="171428" indent="-171428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71" indent="-128571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43" indent="-128571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14" indent="-128571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5"/>
          </p:nvPr>
        </p:nvSpPr>
        <p:spPr>
          <a:xfrm>
            <a:off x="4730515" y="3266846"/>
            <a:ext cx="1831086" cy="1285169"/>
          </a:xfrm>
        </p:spPr>
        <p:txBody>
          <a:bodyPr>
            <a:normAutofit/>
          </a:bodyPr>
          <a:lstStyle>
            <a:lvl1pPr marL="171428" indent="-171428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71" indent="-128571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43" indent="-128571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14" indent="-128571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6"/>
          </p:nvPr>
        </p:nvSpPr>
        <p:spPr>
          <a:xfrm>
            <a:off x="6880915" y="3266846"/>
            <a:ext cx="1831086" cy="1285169"/>
          </a:xfrm>
        </p:spPr>
        <p:txBody>
          <a:bodyPr>
            <a:normAutofit/>
          </a:bodyPr>
          <a:lstStyle>
            <a:lvl1pPr marL="171428" indent="-171428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71" indent="-128571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43" indent="-128571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14" indent="-128571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0645369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1163480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63480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163480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823427"/>
            <a:ext cx="2496312" cy="323147"/>
          </a:xfrm>
          <a:solidFill>
            <a:srgbClr val="0065A4">
              <a:alpha val="80000"/>
            </a:srgbClr>
          </a:solidFill>
        </p:spPr>
        <p:txBody>
          <a:bodyPr lIns="137142" tIns="68571" rIns="137142" bIns="68571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43" indent="-128571">
              <a:defRPr sz="1100">
                <a:solidFill>
                  <a:srgbClr val="FFFFFF"/>
                </a:solidFill>
              </a:defRPr>
            </a:lvl3pPr>
            <a:lvl4pPr marL="385714" indent="-128571">
              <a:defRPr sz="1100">
                <a:solidFill>
                  <a:srgbClr val="FFFFFF"/>
                </a:solidFill>
              </a:defRPr>
            </a:lvl4pPr>
            <a:lvl5pPr marL="557142" indent="-171428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823427"/>
            <a:ext cx="2496312" cy="323147"/>
          </a:xfrm>
          <a:solidFill>
            <a:srgbClr val="00B0F0">
              <a:alpha val="80000"/>
            </a:srgbClr>
          </a:solidFill>
        </p:spPr>
        <p:txBody>
          <a:bodyPr lIns="137142" tIns="68571" rIns="137142" bIns="68571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43" indent="-128571">
              <a:defRPr sz="1100">
                <a:solidFill>
                  <a:srgbClr val="FFFFFF"/>
                </a:solidFill>
              </a:defRPr>
            </a:lvl3pPr>
            <a:lvl4pPr marL="385714" indent="-128571">
              <a:defRPr sz="1100">
                <a:solidFill>
                  <a:srgbClr val="FFFFFF"/>
                </a:solidFill>
              </a:defRPr>
            </a:lvl4pPr>
            <a:lvl5pPr marL="557142" indent="-171428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823427"/>
            <a:ext cx="2496312" cy="323147"/>
          </a:xfrm>
          <a:solidFill>
            <a:srgbClr val="8DB74A">
              <a:alpha val="80000"/>
            </a:srgbClr>
          </a:solidFill>
        </p:spPr>
        <p:txBody>
          <a:bodyPr lIns="137142" tIns="68571" rIns="137142" bIns="68571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43" indent="-128571">
              <a:defRPr sz="1100">
                <a:solidFill>
                  <a:srgbClr val="FFFFFF"/>
                </a:solidFill>
              </a:defRPr>
            </a:lvl3pPr>
            <a:lvl4pPr marL="385714" indent="-128571">
              <a:defRPr sz="1100">
                <a:solidFill>
                  <a:srgbClr val="FFFFFF"/>
                </a:solidFill>
              </a:defRPr>
            </a:lvl4pPr>
            <a:lvl5pPr marL="557142" indent="-171428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13"/>
          <p:cNvSpPr>
            <a:spLocks noGrp="1"/>
          </p:cNvSpPr>
          <p:nvPr>
            <p:ph sz="quarter" idx="18"/>
          </p:nvPr>
        </p:nvSpPr>
        <p:spPr>
          <a:xfrm>
            <a:off x="435540" y="3274958"/>
            <a:ext cx="2496312" cy="1313019"/>
          </a:xfrm>
        </p:spPr>
        <p:txBody>
          <a:bodyPr>
            <a:normAutofit/>
          </a:bodyPr>
          <a:lstStyle>
            <a:lvl1pPr marL="171428" indent="-171428">
              <a:buFont typeface="Wingdings" panose="05000000000000000000" pitchFamily="2" charset="2"/>
              <a:buChar char="§"/>
              <a:defRPr sz="1100"/>
            </a:lvl1pPr>
            <a:lvl2pPr marL="128571" indent="-128571">
              <a:buFont typeface="Arial" panose="020B0604020202020204" pitchFamily="34" charset="0"/>
              <a:buChar char="•"/>
              <a:defRPr sz="1100"/>
            </a:lvl2pPr>
            <a:lvl3pPr marL="257143" indent="-128571">
              <a:defRPr sz="1100"/>
            </a:lvl3pPr>
            <a:lvl4pPr marL="385714" indent="-128571"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274958"/>
            <a:ext cx="2496312" cy="1313019"/>
          </a:xfrm>
        </p:spPr>
        <p:txBody>
          <a:bodyPr>
            <a:normAutofit/>
          </a:bodyPr>
          <a:lstStyle>
            <a:lvl1pPr marL="171428" indent="-171428">
              <a:buFont typeface="Wingdings" panose="05000000000000000000" pitchFamily="2" charset="2"/>
              <a:buChar char="§"/>
              <a:defRPr sz="1100"/>
            </a:lvl1pPr>
            <a:lvl2pPr marL="128571" indent="-128571">
              <a:buClr>
                <a:schemeClr val="accent4"/>
              </a:buClr>
              <a:buFont typeface="Arial" panose="020B0604020202020204" pitchFamily="34" charset="0"/>
              <a:buChar char="•"/>
              <a:defRPr sz="1100"/>
            </a:lvl2pPr>
            <a:lvl3pPr marL="257143" indent="-128571">
              <a:buClr>
                <a:schemeClr val="accent4"/>
              </a:buClr>
              <a:defRPr sz="1100"/>
            </a:lvl3pPr>
            <a:lvl4pPr marL="385714" indent="-128571">
              <a:buClr>
                <a:schemeClr val="accent4"/>
              </a:buClr>
              <a:defRPr sz="1100"/>
            </a:lvl4pPr>
            <a:lvl5pPr>
              <a:buClr>
                <a:schemeClr val="accent4"/>
              </a:buCl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0"/>
          </p:nvPr>
        </p:nvSpPr>
        <p:spPr>
          <a:xfrm>
            <a:off x="6215688" y="3274958"/>
            <a:ext cx="2496312" cy="1313019"/>
          </a:xfrm>
        </p:spPr>
        <p:txBody>
          <a:bodyPr>
            <a:normAutofit/>
          </a:bodyPr>
          <a:lstStyle>
            <a:lvl1pPr marL="171428" indent="-171428">
              <a:buFont typeface="Wingdings" panose="05000000000000000000" pitchFamily="2" charset="2"/>
              <a:buChar char="§"/>
              <a:defRPr sz="1100"/>
            </a:lvl1pPr>
            <a:lvl2pPr marL="128571" indent="-128571">
              <a:buClr>
                <a:schemeClr val="accent3"/>
              </a:buClr>
              <a:buFont typeface="Arial" panose="020B0604020202020204" pitchFamily="34" charset="0"/>
              <a:buChar char="•"/>
              <a:defRPr sz="1100"/>
            </a:lvl2pPr>
            <a:lvl3pPr marL="257143" indent="-128571">
              <a:buClr>
                <a:schemeClr val="accent3"/>
              </a:buClr>
              <a:defRPr sz="1100"/>
            </a:lvl3pPr>
            <a:lvl4pPr marL="385714" indent="-128571">
              <a:buClr>
                <a:schemeClr val="accent3"/>
              </a:buClr>
              <a:defRPr sz="1100"/>
            </a:lvl4pPr>
            <a:lvl5pPr>
              <a:buClr>
                <a:schemeClr val="accent3"/>
              </a:buCl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8305702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895355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895355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895355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555301"/>
            <a:ext cx="2496312" cy="323147"/>
          </a:xfrm>
          <a:solidFill>
            <a:srgbClr val="0065A4">
              <a:alpha val="80000"/>
            </a:srgbClr>
          </a:solidFill>
        </p:spPr>
        <p:txBody>
          <a:bodyPr lIns="137142" tIns="68571" rIns="137142" bIns="68571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43" indent="-128571">
              <a:defRPr sz="1100">
                <a:solidFill>
                  <a:srgbClr val="FFFFFF"/>
                </a:solidFill>
              </a:defRPr>
            </a:lvl3pPr>
            <a:lvl4pPr marL="385714" indent="-128571">
              <a:defRPr sz="1100">
                <a:solidFill>
                  <a:srgbClr val="FFFFFF"/>
                </a:solidFill>
              </a:defRPr>
            </a:lvl4pPr>
            <a:lvl5pPr marL="557142" indent="-171428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555301"/>
            <a:ext cx="2496312" cy="323147"/>
          </a:xfrm>
          <a:solidFill>
            <a:srgbClr val="00B0F0">
              <a:alpha val="80000"/>
            </a:srgbClr>
          </a:solidFill>
        </p:spPr>
        <p:txBody>
          <a:bodyPr lIns="137142" tIns="68571" rIns="137142" bIns="68571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43" indent="-128571">
              <a:defRPr sz="1100">
                <a:solidFill>
                  <a:srgbClr val="FFFFFF"/>
                </a:solidFill>
              </a:defRPr>
            </a:lvl3pPr>
            <a:lvl4pPr marL="385714" indent="-128571">
              <a:defRPr sz="1100">
                <a:solidFill>
                  <a:srgbClr val="FFFFFF"/>
                </a:solidFill>
              </a:defRPr>
            </a:lvl4pPr>
            <a:lvl5pPr marL="557142" indent="-171428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555301"/>
            <a:ext cx="2496312" cy="323147"/>
          </a:xfrm>
          <a:solidFill>
            <a:srgbClr val="8DB74A">
              <a:alpha val="80000"/>
            </a:srgbClr>
          </a:solidFill>
        </p:spPr>
        <p:txBody>
          <a:bodyPr lIns="137142" tIns="68571" rIns="137142" bIns="68571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43" indent="-128571">
              <a:defRPr sz="1100">
                <a:solidFill>
                  <a:srgbClr val="FFFFFF"/>
                </a:solidFill>
              </a:defRPr>
            </a:lvl3pPr>
            <a:lvl4pPr marL="385714" indent="-128571">
              <a:defRPr sz="1100">
                <a:solidFill>
                  <a:srgbClr val="FFFFFF"/>
                </a:solidFill>
              </a:defRPr>
            </a:lvl4pPr>
            <a:lvl5pPr marL="557142" indent="-171428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763061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67599"/>
            <a:ext cx="406799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167599"/>
            <a:ext cx="4067991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2827544"/>
            <a:ext cx="4066772" cy="323147"/>
          </a:xfrm>
          <a:solidFill>
            <a:srgbClr val="0065A4">
              <a:alpha val="80000"/>
            </a:srgbClr>
          </a:solidFill>
        </p:spPr>
        <p:txBody>
          <a:bodyPr wrap="square" lIns="137142" tIns="68571" rIns="137142" bIns="68571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43" indent="-128571">
              <a:defRPr sz="1100">
                <a:solidFill>
                  <a:srgbClr val="FFFFFF"/>
                </a:solidFill>
              </a:defRPr>
            </a:lvl3pPr>
            <a:lvl4pPr marL="385714" indent="-128571">
              <a:defRPr sz="1100">
                <a:solidFill>
                  <a:srgbClr val="FFFFFF"/>
                </a:solidFill>
              </a:defRPr>
            </a:lvl4pPr>
            <a:lvl5pPr marL="557142" indent="-171428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2827544"/>
            <a:ext cx="4066770" cy="323147"/>
          </a:xfrm>
          <a:solidFill>
            <a:srgbClr val="00B0F0">
              <a:alpha val="80000"/>
            </a:srgbClr>
          </a:solidFill>
        </p:spPr>
        <p:txBody>
          <a:bodyPr wrap="square" lIns="137142" tIns="68571" rIns="137142" bIns="68571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43" indent="-128571">
              <a:defRPr sz="1100">
                <a:solidFill>
                  <a:srgbClr val="FFFFFF"/>
                </a:solidFill>
              </a:defRPr>
            </a:lvl3pPr>
            <a:lvl4pPr marL="385714" indent="-128571">
              <a:defRPr sz="1100">
                <a:solidFill>
                  <a:srgbClr val="FFFFFF"/>
                </a:solidFill>
              </a:defRPr>
            </a:lvl4pPr>
            <a:lvl5pPr marL="557142" indent="-171428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432076" y="3279073"/>
            <a:ext cx="4066772" cy="1277300"/>
          </a:xfrm>
        </p:spPr>
        <p:txBody>
          <a:bodyPr>
            <a:normAutofit/>
          </a:bodyPr>
          <a:lstStyle>
            <a:lvl1pPr marL="171428" indent="-171428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71" indent="-128571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43" indent="-128571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14" indent="-128571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13"/>
          <p:cNvSpPr>
            <a:spLocks noGrp="1"/>
          </p:cNvSpPr>
          <p:nvPr>
            <p:ph sz="quarter" idx="19"/>
          </p:nvPr>
        </p:nvSpPr>
        <p:spPr>
          <a:xfrm>
            <a:off x="4645169" y="3279073"/>
            <a:ext cx="4066771" cy="1277300"/>
          </a:xfrm>
        </p:spPr>
        <p:txBody>
          <a:bodyPr>
            <a:normAutofit/>
          </a:bodyPr>
          <a:lstStyle>
            <a:lvl1pPr marL="171428" indent="-171428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71" indent="-128571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43" indent="-128571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14" indent="-128571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2687221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1" name="Content Placeholder 13"/>
          <p:cNvSpPr>
            <a:spLocks noGrp="1"/>
          </p:cNvSpPr>
          <p:nvPr>
            <p:ph sz="quarter" idx="18"/>
          </p:nvPr>
        </p:nvSpPr>
        <p:spPr>
          <a:xfrm>
            <a:off x="1228452" y="1304378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612783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3" name="Content Placeholder 13"/>
          <p:cNvSpPr>
            <a:spLocks noGrp="1"/>
          </p:cNvSpPr>
          <p:nvPr>
            <p:ph sz="quarter" idx="20"/>
          </p:nvPr>
        </p:nvSpPr>
        <p:spPr>
          <a:xfrm>
            <a:off x="3409713" y="1304378"/>
            <a:ext cx="1034421" cy="733806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4794025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5" name="Content Placeholder 13"/>
          <p:cNvSpPr>
            <a:spLocks noGrp="1"/>
          </p:cNvSpPr>
          <p:nvPr>
            <p:ph sz="quarter" idx="22"/>
          </p:nvPr>
        </p:nvSpPr>
        <p:spPr>
          <a:xfrm>
            <a:off x="5590946" y="1304378"/>
            <a:ext cx="1034421" cy="733806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75267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7" name="Content Placeholder 13"/>
          <p:cNvSpPr>
            <a:spLocks noGrp="1"/>
          </p:cNvSpPr>
          <p:nvPr>
            <p:ph sz="quarter" idx="24"/>
          </p:nvPr>
        </p:nvSpPr>
        <p:spPr>
          <a:xfrm>
            <a:off x="7772169" y="1304378"/>
            <a:ext cx="1034421" cy="733806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9" name="Content Placeholder 13"/>
          <p:cNvSpPr>
            <a:spLocks noGrp="1"/>
          </p:cNvSpPr>
          <p:nvPr>
            <p:ph sz="quarter" idx="26"/>
          </p:nvPr>
        </p:nvSpPr>
        <p:spPr>
          <a:xfrm>
            <a:off x="1228452" y="2439696"/>
            <a:ext cx="1034421" cy="733806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612783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1" name="Content Placeholder 13"/>
          <p:cNvSpPr>
            <a:spLocks noGrp="1"/>
          </p:cNvSpPr>
          <p:nvPr>
            <p:ph sz="quarter" idx="28"/>
          </p:nvPr>
        </p:nvSpPr>
        <p:spPr>
          <a:xfrm>
            <a:off x="3409713" y="2439696"/>
            <a:ext cx="1034421" cy="733806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2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94025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3" name="Content Placeholder 13"/>
          <p:cNvSpPr>
            <a:spLocks noGrp="1"/>
          </p:cNvSpPr>
          <p:nvPr>
            <p:ph sz="quarter" idx="30"/>
          </p:nvPr>
        </p:nvSpPr>
        <p:spPr>
          <a:xfrm>
            <a:off x="5590946" y="2439696"/>
            <a:ext cx="1034421" cy="733806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975267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5" name="Content Placeholder 13"/>
          <p:cNvSpPr>
            <a:spLocks noGrp="1"/>
          </p:cNvSpPr>
          <p:nvPr>
            <p:ph sz="quarter" idx="32"/>
          </p:nvPr>
        </p:nvSpPr>
        <p:spPr>
          <a:xfrm>
            <a:off x="7772169" y="2439696"/>
            <a:ext cx="1034421" cy="733806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6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7" name="Content Placeholder 13"/>
          <p:cNvSpPr>
            <a:spLocks noGrp="1"/>
          </p:cNvSpPr>
          <p:nvPr>
            <p:ph sz="quarter" idx="34"/>
          </p:nvPr>
        </p:nvSpPr>
        <p:spPr>
          <a:xfrm>
            <a:off x="1228452" y="3575014"/>
            <a:ext cx="1034421" cy="733806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8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2612783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9" name="Content Placeholder 13"/>
          <p:cNvSpPr>
            <a:spLocks noGrp="1"/>
          </p:cNvSpPr>
          <p:nvPr>
            <p:ph sz="quarter" idx="36"/>
          </p:nvPr>
        </p:nvSpPr>
        <p:spPr>
          <a:xfrm>
            <a:off x="3409713" y="3575014"/>
            <a:ext cx="1034421" cy="733806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0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794025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1" name="Content Placeholder 13"/>
          <p:cNvSpPr>
            <a:spLocks noGrp="1"/>
          </p:cNvSpPr>
          <p:nvPr>
            <p:ph sz="quarter" idx="38"/>
          </p:nvPr>
        </p:nvSpPr>
        <p:spPr>
          <a:xfrm>
            <a:off x="5590946" y="3575014"/>
            <a:ext cx="1034421" cy="733806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975267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3" name="Content Placeholder 13"/>
          <p:cNvSpPr>
            <a:spLocks noGrp="1"/>
          </p:cNvSpPr>
          <p:nvPr>
            <p:ph sz="quarter" idx="40"/>
          </p:nvPr>
        </p:nvSpPr>
        <p:spPr>
          <a:xfrm>
            <a:off x="7772169" y="3575014"/>
            <a:ext cx="1034421" cy="733806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41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0657759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487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3" name="Content Placeholder 13"/>
          <p:cNvSpPr>
            <a:spLocks noGrp="1"/>
          </p:cNvSpPr>
          <p:nvPr>
            <p:ph sz="quarter" idx="18"/>
          </p:nvPr>
        </p:nvSpPr>
        <p:spPr>
          <a:xfrm>
            <a:off x="1228439" y="1304870"/>
            <a:ext cx="1735806" cy="733806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0487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5" name="Content Placeholder 13"/>
          <p:cNvSpPr>
            <a:spLocks noGrp="1"/>
          </p:cNvSpPr>
          <p:nvPr>
            <p:ph sz="quarter" idx="20"/>
          </p:nvPr>
        </p:nvSpPr>
        <p:spPr>
          <a:xfrm>
            <a:off x="4069975" y="1304870"/>
            <a:ext cx="1735806" cy="733806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0487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22"/>
          </p:nvPr>
        </p:nvSpPr>
        <p:spPr>
          <a:xfrm>
            <a:off x="6911514" y="1304870"/>
            <a:ext cx="1735806" cy="733806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4018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9" name="Content Placeholder 13"/>
          <p:cNvSpPr>
            <a:spLocks noGrp="1"/>
          </p:cNvSpPr>
          <p:nvPr>
            <p:ph sz="quarter" idx="26"/>
          </p:nvPr>
        </p:nvSpPr>
        <p:spPr>
          <a:xfrm>
            <a:off x="1228439" y="2440189"/>
            <a:ext cx="1735806" cy="733806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44018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7" name="Content Placeholder 13"/>
          <p:cNvSpPr>
            <a:spLocks noGrp="1"/>
          </p:cNvSpPr>
          <p:nvPr>
            <p:ph sz="quarter" idx="28"/>
          </p:nvPr>
        </p:nvSpPr>
        <p:spPr>
          <a:xfrm>
            <a:off x="4069975" y="2440189"/>
            <a:ext cx="1735806" cy="733806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44018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0" name="Content Placeholder 13"/>
          <p:cNvSpPr>
            <a:spLocks noGrp="1"/>
          </p:cNvSpPr>
          <p:nvPr>
            <p:ph sz="quarter" idx="30"/>
          </p:nvPr>
        </p:nvSpPr>
        <p:spPr>
          <a:xfrm>
            <a:off x="6911514" y="2440189"/>
            <a:ext cx="1735806" cy="733806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7550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2" name="Content Placeholder 13"/>
          <p:cNvSpPr>
            <a:spLocks noGrp="1"/>
          </p:cNvSpPr>
          <p:nvPr>
            <p:ph sz="quarter" idx="34"/>
          </p:nvPr>
        </p:nvSpPr>
        <p:spPr>
          <a:xfrm>
            <a:off x="1228439" y="3575506"/>
            <a:ext cx="1735806" cy="733806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70244" y="357550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4" name="Content Placeholder 13"/>
          <p:cNvSpPr>
            <a:spLocks noGrp="1"/>
          </p:cNvSpPr>
          <p:nvPr>
            <p:ph sz="quarter" idx="36"/>
          </p:nvPr>
        </p:nvSpPr>
        <p:spPr>
          <a:xfrm>
            <a:off x="4069975" y="3575506"/>
            <a:ext cx="1735806" cy="733806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108947" y="3575506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6" name="Content Placeholder 13"/>
          <p:cNvSpPr>
            <a:spLocks noGrp="1"/>
          </p:cNvSpPr>
          <p:nvPr>
            <p:ph sz="quarter" idx="38"/>
          </p:nvPr>
        </p:nvSpPr>
        <p:spPr>
          <a:xfrm>
            <a:off x="6911514" y="3575506"/>
            <a:ext cx="1735806" cy="733806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9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3830419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228439" y="1302231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4069975" y="1302231"/>
            <a:ext cx="1735806" cy="1456681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6911514" y="1302231"/>
            <a:ext cx="1735806" cy="1456681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/>
          </p:nvPr>
        </p:nvSpPr>
        <p:spPr>
          <a:xfrm>
            <a:off x="1228439" y="2987323"/>
            <a:ext cx="1735806" cy="1456681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9872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/>
          </p:nvPr>
        </p:nvSpPr>
        <p:spPr>
          <a:xfrm>
            <a:off x="4069975" y="2987323"/>
            <a:ext cx="1735806" cy="1456681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98727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/>
          </p:nvPr>
        </p:nvSpPr>
        <p:spPr>
          <a:xfrm>
            <a:off x="6911514" y="2987323"/>
            <a:ext cx="1735806" cy="1456681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1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7266218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721538" y="1302231"/>
            <a:ext cx="2669009" cy="1456681"/>
          </a:xfrm>
        </p:spPr>
        <p:txBody>
          <a:bodyPr/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709854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6002681" y="1302231"/>
            <a:ext cx="2669009" cy="1456681"/>
          </a:xfrm>
        </p:spPr>
        <p:txBody>
          <a:bodyPr/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78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/>
          </p:nvPr>
        </p:nvSpPr>
        <p:spPr>
          <a:xfrm>
            <a:off x="1721538" y="2987323"/>
            <a:ext cx="2669009" cy="1456681"/>
          </a:xfrm>
        </p:spPr>
        <p:txBody>
          <a:bodyPr/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709854" y="2987278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/>
          </p:nvPr>
        </p:nvSpPr>
        <p:spPr>
          <a:xfrm>
            <a:off x="6002681" y="2987323"/>
            <a:ext cx="2669009" cy="1456681"/>
          </a:xfrm>
        </p:spPr>
        <p:txBody>
          <a:bodyPr/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9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985215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210901990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93773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5152" y="1193773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8"/>
          </p:nvPr>
        </p:nvSpPr>
        <p:spPr>
          <a:xfrm>
            <a:off x="430932" y="3674374"/>
            <a:ext cx="4067916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71" indent="-128571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43" indent="-128571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14" indent="-128571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3674374"/>
            <a:ext cx="4065628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71" indent="-128571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43" indent="-128571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14" indent="-128571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2000" y="2441762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45152" y="2441762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0351970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79507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431557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918210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3270336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756913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6108972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5421857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39452" y="2569540"/>
            <a:ext cx="1802967" cy="1802414"/>
          </a:xfrm>
        </p:spPr>
        <p:txBody>
          <a:bodyPr/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2642365" y="2569540"/>
            <a:ext cx="1802967" cy="1802414"/>
          </a:xfrm>
        </p:spPr>
        <p:txBody>
          <a:bodyPr/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4745243" y="2569540"/>
            <a:ext cx="1802967" cy="1802414"/>
          </a:xfrm>
        </p:spPr>
        <p:txBody>
          <a:bodyPr/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/>
          </p:nvPr>
        </p:nvSpPr>
        <p:spPr>
          <a:xfrm>
            <a:off x="6848151" y="2569540"/>
            <a:ext cx="1802967" cy="1802414"/>
          </a:xfrm>
        </p:spPr>
        <p:txBody>
          <a:bodyPr/>
          <a:lstStyle>
            <a:lvl1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26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262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14" indent="-128571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827584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030014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7131229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928799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04533991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9595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4" rIns="91429" bIns="457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b="1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1540" y="210018"/>
            <a:ext cx="828092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06197654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4" rIns="91429" bIns="457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b="1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187603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4" rIns="91429" bIns="457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b="1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18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9065013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1098226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206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681570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51" y="789579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3360781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501840032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9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41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0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29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3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48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5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6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7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0691927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6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6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942414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802651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101" indent="0">
              <a:buNone/>
              <a:defRPr sz="2000" b="1"/>
            </a:lvl2pPr>
            <a:lvl3pPr marL="914193" indent="0">
              <a:buNone/>
              <a:defRPr sz="1800" b="1"/>
            </a:lvl3pPr>
            <a:lvl4pPr marL="1371294" indent="0">
              <a:buNone/>
              <a:defRPr sz="1600" b="1"/>
            </a:lvl4pPr>
            <a:lvl5pPr marL="1828386" indent="0">
              <a:buNone/>
              <a:defRPr sz="1600" b="1"/>
            </a:lvl5pPr>
            <a:lvl6pPr marL="2285487" indent="0">
              <a:buNone/>
              <a:defRPr sz="1600" b="1"/>
            </a:lvl6pPr>
            <a:lvl7pPr marL="2742579" indent="0">
              <a:buNone/>
              <a:defRPr sz="1600" b="1"/>
            </a:lvl7pPr>
            <a:lvl8pPr marL="3199680" indent="0">
              <a:buNone/>
              <a:defRPr sz="1600" b="1"/>
            </a:lvl8pPr>
            <a:lvl9pPr marL="365678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92" y="802651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101" indent="0">
              <a:buNone/>
              <a:defRPr sz="2000" b="1"/>
            </a:lvl2pPr>
            <a:lvl3pPr marL="914193" indent="0">
              <a:buNone/>
              <a:defRPr sz="1800" b="1"/>
            </a:lvl3pPr>
            <a:lvl4pPr marL="1371294" indent="0">
              <a:buNone/>
              <a:defRPr sz="1600" b="1"/>
            </a:lvl4pPr>
            <a:lvl5pPr marL="1828386" indent="0">
              <a:buNone/>
              <a:defRPr sz="1600" b="1"/>
            </a:lvl5pPr>
            <a:lvl6pPr marL="2285487" indent="0">
              <a:buNone/>
              <a:defRPr sz="1600" b="1"/>
            </a:lvl6pPr>
            <a:lvl7pPr marL="2742579" indent="0">
              <a:buNone/>
              <a:defRPr sz="1600" b="1"/>
            </a:lvl7pPr>
            <a:lvl8pPr marL="3199680" indent="0">
              <a:buNone/>
              <a:defRPr sz="1600" b="1"/>
            </a:lvl8pPr>
            <a:lvl9pPr marL="365678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92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3341283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4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959139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473784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4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101" indent="0">
              <a:buNone/>
              <a:defRPr sz="2800"/>
            </a:lvl2pPr>
            <a:lvl3pPr marL="914193" indent="0">
              <a:buNone/>
              <a:defRPr sz="2400"/>
            </a:lvl3pPr>
            <a:lvl4pPr marL="1371294" indent="0">
              <a:buNone/>
              <a:defRPr sz="2000"/>
            </a:lvl4pPr>
            <a:lvl5pPr marL="1828386" indent="0">
              <a:buNone/>
              <a:defRPr sz="2000"/>
            </a:lvl5pPr>
            <a:lvl6pPr marL="2285487" indent="0">
              <a:buNone/>
              <a:defRPr sz="2000"/>
            </a:lvl6pPr>
            <a:lvl7pPr marL="2742579" indent="0">
              <a:buNone/>
              <a:defRPr sz="2000"/>
            </a:lvl7pPr>
            <a:lvl8pPr marL="3199680" indent="0">
              <a:buNone/>
              <a:defRPr sz="2000"/>
            </a:lvl8pPr>
            <a:lvl9pPr marL="3656780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890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101" indent="0">
              <a:buNone/>
              <a:defRPr sz="1200"/>
            </a:lvl2pPr>
            <a:lvl3pPr marL="914193" indent="0">
              <a:buNone/>
              <a:defRPr sz="1000"/>
            </a:lvl3pPr>
            <a:lvl4pPr marL="1371294" indent="0">
              <a:buNone/>
              <a:defRPr sz="900"/>
            </a:lvl4pPr>
            <a:lvl5pPr marL="1828386" indent="0">
              <a:buNone/>
              <a:defRPr sz="900"/>
            </a:lvl5pPr>
            <a:lvl6pPr marL="2285487" indent="0">
              <a:buNone/>
              <a:defRPr sz="900"/>
            </a:lvl6pPr>
            <a:lvl7pPr marL="2742579" indent="0">
              <a:buNone/>
              <a:defRPr sz="900"/>
            </a:lvl7pPr>
            <a:lvl8pPr marL="3199680" indent="0">
              <a:buNone/>
              <a:defRPr sz="900"/>
            </a:lvl8pPr>
            <a:lvl9pPr marL="365678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492059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04790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95" y="204895"/>
            <a:ext cx="5111751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101" indent="0">
              <a:buNone/>
              <a:defRPr sz="1200"/>
            </a:lvl2pPr>
            <a:lvl3pPr marL="914193" indent="0">
              <a:buNone/>
              <a:defRPr sz="1000"/>
            </a:lvl3pPr>
            <a:lvl4pPr marL="1371294" indent="0">
              <a:buNone/>
              <a:defRPr sz="900"/>
            </a:lvl4pPr>
            <a:lvl5pPr marL="1828386" indent="0">
              <a:buNone/>
              <a:defRPr sz="900"/>
            </a:lvl5pPr>
            <a:lvl6pPr marL="2285487" indent="0">
              <a:buNone/>
              <a:defRPr sz="900"/>
            </a:lvl6pPr>
            <a:lvl7pPr marL="2742579" indent="0">
              <a:buNone/>
              <a:defRPr sz="900"/>
            </a:lvl7pPr>
            <a:lvl8pPr marL="3199680" indent="0">
              <a:buNone/>
              <a:defRPr sz="900"/>
            </a:lvl8pPr>
            <a:lvl9pPr marL="365678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2330043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860887491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 lIns="91369" tIns="45684" rIns="91369" bIns="45684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  <a:endParaRPr lang="en-IN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2869631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13908068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9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252618871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3324289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3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51" y="789579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37951350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7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362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267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72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27333929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209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889533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84" y="789579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342660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9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41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04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07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15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19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22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27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31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395674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6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6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1688297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802651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043" indent="0">
              <a:buNone/>
              <a:defRPr sz="2000" b="1"/>
            </a:lvl2pPr>
            <a:lvl3pPr marL="914076" indent="0">
              <a:buNone/>
              <a:defRPr sz="1800" b="1"/>
            </a:lvl3pPr>
            <a:lvl4pPr marL="1371118" indent="0">
              <a:buNone/>
              <a:defRPr sz="1600" b="1"/>
            </a:lvl4pPr>
            <a:lvl5pPr marL="1828152" indent="0">
              <a:buNone/>
              <a:defRPr sz="1600" b="1"/>
            </a:lvl5pPr>
            <a:lvl6pPr marL="2285194" indent="0">
              <a:buNone/>
              <a:defRPr sz="1600" b="1"/>
            </a:lvl6pPr>
            <a:lvl7pPr marL="2742228" indent="0">
              <a:buNone/>
              <a:defRPr sz="1600" b="1"/>
            </a:lvl7pPr>
            <a:lvl8pPr marL="3199270" indent="0">
              <a:buNone/>
              <a:defRPr sz="1600" b="1"/>
            </a:lvl8pPr>
            <a:lvl9pPr marL="3656312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92" y="802651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043" indent="0">
              <a:buNone/>
              <a:defRPr sz="2000" b="1"/>
            </a:lvl2pPr>
            <a:lvl3pPr marL="914076" indent="0">
              <a:buNone/>
              <a:defRPr sz="1800" b="1"/>
            </a:lvl3pPr>
            <a:lvl4pPr marL="1371118" indent="0">
              <a:buNone/>
              <a:defRPr sz="1600" b="1"/>
            </a:lvl4pPr>
            <a:lvl5pPr marL="1828152" indent="0">
              <a:buNone/>
              <a:defRPr sz="1600" b="1"/>
            </a:lvl5pPr>
            <a:lvl6pPr marL="2285194" indent="0">
              <a:buNone/>
              <a:defRPr sz="1600" b="1"/>
            </a:lvl6pPr>
            <a:lvl7pPr marL="2742228" indent="0">
              <a:buNone/>
              <a:defRPr sz="1600" b="1"/>
            </a:lvl7pPr>
            <a:lvl8pPr marL="3199270" indent="0">
              <a:buNone/>
              <a:defRPr sz="1600" b="1"/>
            </a:lvl8pPr>
            <a:lvl9pPr marL="3656312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92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0527861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4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841758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74400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15817" y="2733785"/>
            <a:ext cx="5832648" cy="788287"/>
          </a:xfrm>
        </p:spPr>
        <p:txBody>
          <a:bodyPr/>
          <a:lstStyle>
            <a:lvl1pPr>
              <a:defRPr>
                <a:solidFill>
                  <a:srgbClr val="CBEC78"/>
                </a:solidFill>
              </a:defRPr>
            </a:lvl1pPr>
          </a:lstStyle>
          <a:p>
            <a:r>
              <a:rPr lang="en-IN" dirty="0"/>
              <a:t>Your Sub headline will g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816" y="1599782"/>
            <a:ext cx="5832648" cy="1134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88023693"/>
      </p:ext>
    </p:extLst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4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043" indent="0">
              <a:buNone/>
              <a:defRPr sz="2800"/>
            </a:lvl2pPr>
            <a:lvl3pPr marL="914076" indent="0">
              <a:buNone/>
              <a:defRPr sz="2400"/>
            </a:lvl3pPr>
            <a:lvl4pPr marL="1371118" indent="0">
              <a:buNone/>
              <a:defRPr sz="2000"/>
            </a:lvl4pPr>
            <a:lvl5pPr marL="1828152" indent="0">
              <a:buNone/>
              <a:defRPr sz="2000"/>
            </a:lvl5pPr>
            <a:lvl6pPr marL="2285194" indent="0">
              <a:buNone/>
              <a:defRPr sz="2000"/>
            </a:lvl6pPr>
            <a:lvl7pPr marL="2742228" indent="0">
              <a:buNone/>
              <a:defRPr sz="2000"/>
            </a:lvl7pPr>
            <a:lvl8pPr marL="3199270" indent="0">
              <a:buNone/>
              <a:defRPr sz="2000"/>
            </a:lvl8pPr>
            <a:lvl9pPr marL="3656312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892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043" indent="0">
              <a:buNone/>
              <a:defRPr sz="1200"/>
            </a:lvl2pPr>
            <a:lvl3pPr marL="914076" indent="0">
              <a:buNone/>
              <a:defRPr sz="1000"/>
            </a:lvl3pPr>
            <a:lvl4pPr marL="1371118" indent="0">
              <a:buNone/>
              <a:defRPr sz="900"/>
            </a:lvl4pPr>
            <a:lvl5pPr marL="1828152" indent="0">
              <a:buNone/>
              <a:defRPr sz="900"/>
            </a:lvl5pPr>
            <a:lvl6pPr marL="2285194" indent="0">
              <a:buNone/>
              <a:defRPr sz="900"/>
            </a:lvl6pPr>
            <a:lvl7pPr marL="2742228" indent="0">
              <a:buNone/>
              <a:defRPr sz="900"/>
            </a:lvl7pPr>
            <a:lvl8pPr marL="3199270" indent="0">
              <a:buNone/>
              <a:defRPr sz="900"/>
            </a:lvl8pPr>
            <a:lvl9pPr marL="365631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020577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34"/>
          <p:cNvSpPr>
            <a:spLocks noGrp="1" noChangeArrowheads="1"/>
          </p:cNvSpPr>
          <p:nvPr>
            <p:ph type="title"/>
          </p:nvPr>
        </p:nvSpPr>
        <p:spPr bwMode="auto">
          <a:xfrm>
            <a:off x="241300" y="159547"/>
            <a:ext cx="8714232" cy="411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05" rIns="91410" bIns="45705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604448" y="4894016"/>
            <a:ext cx="360040" cy="1937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9144526"/>
      </p:ext>
    </p:extLst>
  </p:cSld>
  <p:clrMapOvr>
    <a:masterClrMapping/>
  </p:clrMapOvr>
  <p:transition>
    <p:wipe dir="r"/>
  </p:transition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04793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02" y="204898"/>
            <a:ext cx="5111751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043" indent="0">
              <a:buNone/>
              <a:defRPr sz="1200"/>
            </a:lvl2pPr>
            <a:lvl3pPr marL="914076" indent="0">
              <a:buNone/>
              <a:defRPr sz="1000"/>
            </a:lvl3pPr>
            <a:lvl4pPr marL="1371118" indent="0">
              <a:buNone/>
              <a:defRPr sz="900"/>
            </a:lvl4pPr>
            <a:lvl5pPr marL="1828152" indent="0">
              <a:buNone/>
              <a:defRPr sz="900"/>
            </a:lvl5pPr>
            <a:lvl6pPr marL="2285194" indent="0">
              <a:buNone/>
              <a:defRPr sz="900"/>
            </a:lvl6pPr>
            <a:lvl7pPr marL="2742228" indent="0">
              <a:buNone/>
              <a:defRPr sz="900"/>
            </a:lvl7pPr>
            <a:lvl8pPr marL="3199270" indent="0">
              <a:buNone/>
              <a:defRPr sz="900"/>
            </a:lvl8pPr>
            <a:lvl9pPr marL="365631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950598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633637098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 lIns="91357" tIns="45678" rIns="91357" bIns="45678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  <a:endParaRPr lang="en-IN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582758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gradFill>
          <a:gsLst>
            <a:gs pos="0">
              <a:schemeClr val="accent1"/>
            </a:gs>
            <a:gs pos="100000">
              <a:schemeClr val="accent5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33"/>
            <a:ext cx="9144000" cy="5143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914055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55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3004317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84" y="789579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09016121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6120751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108931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587559529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numCol="2" spcCol="205740">
            <a:normAutofit/>
          </a:bodyPr>
          <a:lstStyle>
            <a:lvl1pPr marL="0" indent="0">
              <a:spcBef>
                <a:spcPts val="900"/>
              </a:spcBef>
              <a:buNone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71446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 marL="357179" indent="-185733">
              <a:spcBef>
                <a:spcPts val="900"/>
              </a:spcBef>
              <a:buFont typeface="Open Sans Light" panose="020B0306030504020204" pitchFamily="34" charset="0"/>
              <a:buChar char="–"/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 marL="514337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 marL="685783" indent="-171446">
              <a:spcBef>
                <a:spcPts val="900"/>
              </a:spcBef>
              <a:buFont typeface="Open Sans Light" panose="020B0306030504020204" pitchFamily="34" charset="0"/>
              <a:buChar char="–"/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928316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012" y="840444"/>
            <a:ext cx="9155013" cy="3678869"/>
          </a:xfrm>
          <a:prstGeom prst="rect">
            <a:avLst/>
          </a:prstGeom>
        </p:spPr>
      </p:pic>
      <p:pic>
        <p:nvPicPr>
          <p:cNvPr id="5" name="Picture 2" descr="F:\InfoCepts_logo\InfoCepts Logo_Blue_PNG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560" y="333769"/>
            <a:ext cx="2304256" cy="163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1491630"/>
            <a:ext cx="7308304" cy="1537878"/>
          </a:xfrm>
        </p:spPr>
        <p:txBody>
          <a:bodyPr anchor="ctr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35696" y="3036355"/>
            <a:ext cx="7308304" cy="561510"/>
          </a:xfrm>
        </p:spPr>
        <p:txBody>
          <a:bodyPr anchor="ctr">
            <a:normAutofit/>
          </a:bodyPr>
          <a:lstStyle>
            <a:lvl1pPr marL="0" indent="0" algn="r">
              <a:buNone/>
              <a:defRPr sz="24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52400" y="4761917"/>
            <a:ext cx="2448272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sz="1400" b="1" dirty="0">
                <a:solidFill>
                  <a:prstClr val="black">
                    <a:lumMod val="50000"/>
                    <a:lumOff val="50000"/>
                  </a:prstClr>
                </a:solidFill>
                <a:cs typeface="Calibri" pitchFamily="34" charset="0"/>
              </a:rPr>
              <a:t>www.infocepts.com</a:t>
            </a:r>
          </a:p>
        </p:txBody>
      </p:sp>
    </p:spTree>
    <p:extLst>
      <p:ext uri="{BB962C8B-B14F-4D97-AF65-F5344CB8AC3E}">
        <p14:creationId xmlns:p14="http://schemas.microsoft.com/office/powerpoint/2010/main" val="4286969908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1089316"/>
            <a:ext cx="8280920" cy="3470672"/>
          </a:xfrm>
        </p:spPr>
        <p:txBody>
          <a:bodyPr numCol="2" spcCol="205740">
            <a:normAutofit/>
          </a:bodyPr>
          <a:lstStyle>
            <a:lvl1pPr marL="0" indent="0">
              <a:spcBef>
                <a:spcPts val="900"/>
              </a:spcBef>
              <a:buNone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71446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 marL="342892" indent="-171446">
              <a:spcBef>
                <a:spcPts val="900"/>
              </a:spcBef>
              <a:buFont typeface="Open Sans Light" panose="020B0306030504020204" pitchFamily="34" charset="0"/>
              <a:buChar char="–"/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 marL="514337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 marL="685783" indent="-171446">
              <a:spcBef>
                <a:spcPts val="900"/>
              </a:spcBef>
              <a:buFont typeface="Open Sans Light" panose="020B0306030504020204" pitchFamily="34" charset="0"/>
              <a:buChar char="–"/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747320862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540" y="1089316"/>
            <a:ext cx="4064260" cy="3394472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75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89316"/>
            <a:ext cx="4064260" cy="3394472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75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437123478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694481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098042689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4556973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286762" y="0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73524" y="0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0286" y="0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564892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286762" y="2564892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573524" y="2564892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860286" y="2564892"/>
            <a:ext cx="2297430" cy="257860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93043628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828229" y="0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656457" y="0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484686" y="0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312914" y="0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1711071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828229" y="1711071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656457" y="1711071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484686" y="1711071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312914" y="1711071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3422142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828229" y="3422142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3656457" y="3422142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484686" y="3422142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312914" y="3422142"/>
            <a:ext cx="1831086" cy="1721358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52136571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521562" y="0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043124" y="0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564685" y="0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607808" y="0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086247" y="0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282446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521562" y="1282446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3043124" y="1282446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564685" y="1282446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7607808" y="1282446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086247" y="1282446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2564892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1521562" y="2564892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3043124" y="2564892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564685" y="2564892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7607808" y="2564892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086247" y="2564892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3847338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1521562" y="3847338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043124" y="3847338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4564685" y="3847338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607808" y="3847338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6086247" y="3847338"/>
            <a:ext cx="1536192" cy="1296162"/>
          </a:xfrm>
        </p:spPr>
        <p:txBody>
          <a:bodyPr lIns="137160" tIns="68580" rIns="137160" bIns="68580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7884167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8573"/>
            <a:ext cx="1828800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1220" y="1048573"/>
            <a:ext cx="1828800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0440" y="1048573"/>
            <a:ext cx="1828800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79660" y="1048573"/>
            <a:ext cx="1828800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35424"/>
            <a:ext cx="1828800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81220" y="3735424"/>
            <a:ext cx="1828800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739320" y="3735424"/>
            <a:ext cx="1828800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79660" y="3735424"/>
            <a:ext cx="1828800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28774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8573"/>
            <a:ext cx="249631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048573"/>
            <a:ext cx="249631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1048573"/>
            <a:ext cx="249631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35424"/>
            <a:ext cx="2496312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323844" y="3735424"/>
            <a:ext cx="2496312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208822" y="3735424"/>
            <a:ext cx="2496312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4842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60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6615" indent="0">
              <a:buNone/>
              <a:defRPr sz="2000" b="1"/>
            </a:lvl2pPr>
            <a:lvl3pPr marL="913227" indent="0">
              <a:buNone/>
              <a:defRPr sz="1800" b="1"/>
            </a:lvl3pPr>
            <a:lvl4pPr marL="1369838" indent="0">
              <a:buNone/>
              <a:defRPr sz="1600" b="1"/>
            </a:lvl4pPr>
            <a:lvl5pPr marL="1826451" indent="0">
              <a:buNone/>
              <a:defRPr sz="1600" b="1"/>
            </a:lvl5pPr>
            <a:lvl6pPr marL="2283065" indent="0">
              <a:buNone/>
              <a:defRPr sz="1600" b="1"/>
            </a:lvl6pPr>
            <a:lvl7pPr marL="2739682" indent="0">
              <a:buNone/>
              <a:defRPr sz="1600" b="1"/>
            </a:lvl7pPr>
            <a:lvl8pPr marL="3196292" indent="0">
              <a:buNone/>
              <a:defRPr sz="1600" b="1"/>
            </a:lvl8pPr>
            <a:lvl9pPr marL="3652906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66" y="802660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6615" indent="0">
              <a:buNone/>
              <a:defRPr sz="2000" b="1"/>
            </a:lvl2pPr>
            <a:lvl3pPr marL="913227" indent="0">
              <a:buNone/>
              <a:defRPr sz="1800" b="1"/>
            </a:lvl3pPr>
            <a:lvl4pPr marL="1369838" indent="0">
              <a:buNone/>
              <a:defRPr sz="1600" b="1"/>
            </a:lvl4pPr>
            <a:lvl5pPr marL="1826451" indent="0">
              <a:buNone/>
              <a:defRPr sz="1600" b="1"/>
            </a:lvl5pPr>
            <a:lvl6pPr marL="2283065" indent="0">
              <a:buNone/>
              <a:defRPr sz="1600" b="1"/>
            </a:lvl6pPr>
            <a:lvl7pPr marL="2739682" indent="0">
              <a:buNone/>
              <a:defRPr sz="1600" b="1"/>
            </a:lvl7pPr>
            <a:lvl8pPr marL="3196292" indent="0">
              <a:buNone/>
              <a:defRPr sz="1600" b="1"/>
            </a:lvl8pPr>
            <a:lvl9pPr marL="3652906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66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90434423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3032094"/>
            <a:ext cx="6851104" cy="565770"/>
          </a:xfrm>
        </p:spPr>
        <p:txBody>
          <a:bodyPr anchor="b"/>
          <a:lstStyle>
            <a:lvl1pPr>
              <a:defRPr sz="240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Click to edit master sub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35696" y="1491630"/>
            <a:ext cx="6851104" cy="1533618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s</a:t>
            </a:r>
          </a:p>
        </p:txBody>
      </p:sp>
    </p:spTree>
    <p:extLst>
      <p:ext uri="{BB962C8B-B14F-4D97-AF65-F5344CB8AC3E}">
        <p14:creationId xmlns:p14="http://schemas.microsoft.com/office/powerpoint/2010/main" val="491191054"/>
      </p:ext>
    </p:extLst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540" y="210794"/>
            <a:ext cx="828092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3108" y="1048573"/>
            <a:ext cx="249631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048573"/>
            <a:ext cx="249631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9608" y="1048573"/>
            <a:ext cx="249631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3108" y="3735424"/>
            <a:ext cx="2496312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323844" y="3735424"/>
            <a:ext cx="2496312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219608" y="3735424"/>
            <a:ext cx="2496312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51492527"/>
      </p:ext>
    </p:extLst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1"/>
            <a:ext cx="4067992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047751"/>
            <a:ext cx="4067991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2895786"/>
            <a:ext cx="4067992" cy="16201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644021" y="2895786"/>
            <a:ext cx="4067991" cy="1620180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577039"/>
      </p:ext>
    </p:extLst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54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181985"/>
            <a:ext cx="406845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5" y="1181985"/>
            <a:ext cx="4067531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1540" y="3868837"/>
            <a:ext cx="4068452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644015" y="3868837"/>
            <a:ext cx="4067531" cy="719138"/>
          </a:xfrm>
        </p:spPr>
        <p:txBody>
          <a:bodyPr>
            <a:no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522027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540" y="210794"/>
            <a:ext cx="828092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047750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91780" y="1047750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58662" y="1047750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83660" y="1047750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431540" y="2291462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591018" y="2291462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757138" y="2291462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881374" y="2291462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353775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175022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175022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175022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175022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2418734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6238" y="2418734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6676" y="2418734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7114" y="2418734"/>
            <a:ext cx="1831086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526253126"/>
      </p:ext>
    </p:extLst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5700" y="1139018"/>
            <a:ext cx="2496312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39018"/>
            <a:ext cx="2496312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27728" y="1139018"/>
            <a:ext cx="2496312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445700" y="2382731"/>
            <a:ext cx="2496312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2382731"/>
            <a:ext cx="2496312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6227728" y="2382731"/>
            <a:ext cx="2496312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642917225"/>
      </p:ext>
    </p:extLst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67594"/>
            <a:ext cx="4067992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167594"/>
            <a:ext cx="4067991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432076" y="2411306"/>
            <a:ext cx="4066772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4645169" y="2411306"/>
            <a:ext cx="4066771" cy="224124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923490780"/>
      </p:ext>
    </p:extLst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038" y="1047750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6238" y="1047750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7438" y="1047750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8638" y="1047750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038" y="3537755"/>
            <a:ext cx="1831086" cy="994954"/>
          </a:xfrm>
        </p:spPr>
        <p:txBody>
          <a:bodyPr/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5476" y="3537755"/>
            <a:ext cx="1831086" cy="994954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5914" y="3537755"/>
            <a:ext cx="1831086" cy="994954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6352" y="3537755"/>
            <a:ext cx="1831086" cy="994954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685038" y="2292753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666238" y="2292753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47438" y="2292753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628638" y="2292753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1615871"/>
      </p:ext>
    </p:extLst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8032" y="1175025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9232" y="1175025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50432" y="1175025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31632" y="1175025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8032" y="3665028"/>
            <a:ext cx="1831086" cy="994954"/>
          </a:xfrm>
        </p:spPr>
        <p:txBody>
          <a:bodyPr/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8470" y="3665028"/>
            <a:ext cx="1831086" cy="994954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8908" y="3665028"/>
            <a:ext cx="1831086" cy="994954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9346" y="3665028"/>
            <a:ext cx="1831086" cy="994954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688032" y="2420028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669232" y="2420028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50432" y="2420028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631632" y="2420028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225548639"/>
      </p:ext>
    </p:extLst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3668300"/>
            <a:ext cx="2496312" cy="1027686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668300"/>
            <a:ext cx="2496312" cy="1027686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5961888" y="3668300"/>
            <a:ext cx="2496312" cy="1027686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85800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323844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961888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8987092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1491630"/>
            <a:ext cx="6851104" cy="1537878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35696" y="3036355"/>
            <a:ext cx="6851104" cy="56151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079313820"/>
      </p:ext>
    </p:extLst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0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5152" y="1047750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430932" y="3529127"/>
            <a:ext cx="4067916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3529127"/>
            <a:ext cx="4065628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2000" y="2295739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45152" y="2295739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349820276"/>
      </p:ext>
    </p:extLst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1172369"/>
            <a:ext cx="1475656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137606" y="1172369"/>
            <a:ext cx="1475656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833458" y="1172369"/>
            <a:ext cx="1475656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529310" y="1172369"/>
            <a:ext cx="1475656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41765" y="3854134"/>
            <a:ext cx="1477501" cy="517816"/>
          </a:xfrm>
          <a:solidFill>
            <a:srgbClr val="00B0F0"/>
          </a:solidFill>
        </p:spPr>
        <p:txBody>
          <a:bodyPr wrap="square" lIns="72000" tIns="72000" rIns="72000" bIns="7200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137611" y="3854134"/>
            <a:ext cx="1477501" cy="517816"/>
          </a:xfrm>
          <a:solidFill>
            <a:srgbClr val="CF423F"/>
          </a:solidFill>
        </p:spPr>
        <p:txBody>
          <a:bodyPr wrap="square" lIns="72000" tIns="72000" rIns="72000" bIns="7200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3833465" y="3854134"/>
            <a:ext cx="1477501" cy="517816"/>
          </a:xfrm>
          <a:solidFill>
            <a:srgbClr val="D2326B"/>
          </a:solidFill>
        </p:spPr>
        <p:txBody>
          <a:bodyPr wrap="square" lIns="72000" tIns="72000" rIns="72000" bIns="7200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5529316" y="3854134"/>
            <a:ext cx="1477501" cy="517816"/>
          </a:xfrm>
          <a:solidFill>
            <a:srgbClr val="F49D00"/>
          </a:solidFill>
        </p:spPr>
        <p:txBody>
          <a:bodyPr wrap="square" lIns="72000" tIns="72000" rIns="72000" bIns="7200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222876" y="1172369"/>
            <a:ext cx="1475656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43"/>
          </p:nvPr>
        </p:nvSpPr>
        <p:spPr>
          <a:xfrm>
            <a:off x="7222878" y="3854134"/>
            <a:ext cx="1477501" cy="517816"/>
          </a:xfrm>
          <a:solidFill>
            <a:srgbClr val="00B888"/>
          </a:solidFill>
        </p:spPr>
        <p:txBody>
          <a:bodyPr wrap="square" lIns="72000" tIns="72000" rIns="72000" bIns="7200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44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438165396"/>
      </p:ext>
    </p:extLst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344" y="1132095"/>
            <a:ext cx="249631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213864" y="1136364"/>
            <a:ext cx="249631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132095"/>
            <a:ext cx="249631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344" y="3821591"/>
            <a:ext cx="2496312" cy="510909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213864" y="3825860"/>
            <a:ext cx="2496312" cy="510909"/>
          </a:xfrm>
          <a:solidFill>
            <a:srgbClr val="CF423F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961888" y="3821591"/>
            <a:ext cx="2496312" cy="510909"/>
          </a:xfrm>
          <a:solidFill>
            <a:srgbClr val="D2326B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92428281"/>
      </p:ext>
    </p:extLst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0"/>
            <a:ext cx="406799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047750"/>
            <a:ext cx="4067991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3703390"/>
            <a:ext cx="4066772" cy="544765"/>
          </a:xfrm>
          <a:solidFill>
            <a:srgbClr val="00B0F0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69" y="3703390"/>
            <a:ext cx="4066771" cy="544765"/>
          </a:xfrm>
          <a:solidFill>
            <a:srgbClr val="CF423F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22355002"/>
      </p:ext>
    </p:extLst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24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28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832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32000" y="2594431"/>
            <a:ext cx="1831086" cy="544765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582400" y="2594431"/>
            <a:ext cx="1831086" cy="544765"/>
          </a:xfrm>
          <a:solidFill>
            <a:srgbClr val="CF423F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730514" y="2594431"/>
            <a:ext cx="1831086" cy="544765"/>
          </a:xfrm>
          <a:solidFill>
            <a:srgbClr val="D2326B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880914" y="2594431"/>
            <a:ext cx="1831086" cy="544765"/>
          </a:xfrm>
          <a:solidFill>
            <a:srgbClr val="F49D0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432000" y="3267624"/>
            <a:ext cx="1831086" cy="128516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2582400" y="3267624"/>
            <a:ext cx="1831086" cy="128516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4730514" y="3267624"/>
            <a:ext cx="1831086" cy="128516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6880914" y="3267624"/>
            <a:ext cx="1831086" cy="128516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669242768"/>
      </p:ext>
    </p:extLst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574063"/>
            <a:ext cx="2496312" cy="572464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574063"/>
            <a:ext cx="2496312" cy="572464"/>
          </a:xfrm>
          <a:solidFill>
            <a:srgbClr val="CF423F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574063"/>
            <a:ext cx="2496312" cy="572464"/>
          </a:xfrm>
          <a:solidFill>
            <a:srgbClr val="D2326B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435540" y="3274955"/>
            <a:ext cx="2496312" cy="1313019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28588" indent="-128588">
              <a:buFont typeface="Arial" panose="020B0604020202020204" pitchFamily="34" charset="0"/>
              <a:buChar char="•"/>
              <a:defRPr sz="1100"/>
            </a:lvl2pPr>
            <a:lvl3pPr marL="257175" indent="-128588">
              <a:defRPr sz="1100"/>
            </a:lvl3pPr>
            <a:lvl4pPr marL="385763" indent="-128588"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274955"/>
            <a:ext cx="2496312" cy="1313019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/>
            </a:lvl2pPr>
            <a:lvl3pPr marL="257175" indent="-128588">
              <a:buClr>
                <a:schemeClr val="accent4"/>
              </a:buClr>
              <a:defRPr sz="1100"/>
            </a:lvl3pPr>
            <a:lvl4pPr marL="385763" indent="-128588">
              <a:buClr>
                <a:schemeClr val="accent4"/>
              </a:buClr>
              <a:defRPr sz="1100"/>
            </a:lvl4pPr>
            <a:lvl5pPr>
              <a:buClr>
                <a:schemeClr val="accent4"/>
              </a:buCl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6215688" y="3274955"/>
            <a:ext cx="2496312" cy="1313019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/>
            </a:lvl2pPr>
            <a:lvl3pPr marL="257175" indent="-128588">
              <a:buClr>
                <a:schemeClr val="accent3"/>
              </a:buClr>
              <a:defRPr sz="1100"/>
            </a:lvl3pPr>
            <a:lvl4pPr marL="385763" indent="-128588">
              <a:buClr>
                <a:schemeClr val="accent3"/>
              </a:buClr>
              <a:defRPr sz="1100"/>
            </a:lvl4pPr>
            <a:lvl5pPr>
              <a:buClr>
                <a:schemeClr val="accent3"/>
              </a:buCl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809931554"/>
      </p:ext>
    </p:extLst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10477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0477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0477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486859"/>
            <a:ext cx="2496312" cy="544765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486859"/>
            <a:ext cx="2496312" cy="544765"/>
          </a:xfrm>
          <a:solidFill>
            <a:srgbClr val="CF423F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486859"/>
            <a:ext cx="2496312" cy="544765"/>
          </a:xfrm>
          <a:solidFill>
            <a:srgbClr val="D2326B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Content Placeholder 13"/>
          <p:cNvSpPr>
            <a:spLocks noGrp="1"/>
          </p:cNvSpPr>
          <p:nvPr>
            <p:ph sz="quarter" idx="18"/>
          </p:nvPr>
        </p:nvSpPr>
        <p:spPr>
          <a:xfrm>
            <a:off x="435540" y="3159230"/>
            <a:ext cx="2496312" cy="131301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159230"/>
            <a:ext cx="2496312" cy="131301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13"/>
          <p:cNvSpPr>
            <a:spLocks noGrp="1"/>
          </p:cNvSpPr>
          <p:nvPr>
            <p:ph sz="quarter" idx="20"/>
          </p:nvPr>
        </p:nvSpPr>
        <p:spPr>
          <a:xfrm>
            <a:off x="6215688" y="3159230"/>
            <a:ext cx="2496312" cy="131301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2419036"/>
      </p:ext>
    </p:extLst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67596"/>
            <a:ext cx="406799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167596"/>
            <a:ext cx="4067991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2578181"/>
            <a:ext cx="4066772" cy="572464"/>
          </a:xfrm>
          <a:solidFill>
            <a:srgbClr val="00B0F0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2578181"/>
            <a:ext cx="4066770" cy="572464"/>
          </a:xfrm>
          <a:solidFill>
            <a:srgbClr val="CF423F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432076" y="3279073"/>
            <a:ext cx="4066772" cy="127730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645169" y="3279073"/>
            <a:ext cx="4066771" cy="127730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064504471"/>
      </p:ext>
    </p:extLst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29550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1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52" y="1295500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612783" y="129550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4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3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409680" y="1295500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4794025" y="129550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5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5590946" y="1295500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75267" y="129550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7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7772169" y="1295500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3081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9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52" y="2430818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612783" y="243081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1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3409680" y="2430818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2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94025" y="243081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3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5590946" y="2430818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975267" y="243081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5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7772169" y="2430818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6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6613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7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228452" y="3566136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8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2612783" y="356613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6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9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3409680" y="3566136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0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794025" y="356613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1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5590946" y="3566136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2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975267" y="356613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3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7772169" y="3566136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782580729"/>
      </p:ext>
    </p:extLst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31504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7" y="1331504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31504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4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5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069975" y="1331504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31504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911512" y="1331504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66823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9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7" y="2466822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466823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7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069975" y="2466822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8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46682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0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6911512" y="2466822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60214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228437" y="3602140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70244" y="360214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6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069975" y="3602140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108947" y="360214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6911512" y="3602140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53053476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1491630"/>
            <a:ext cx="6851104" cy="1537878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75362593"/>
      </p:ext>
    </p:extLst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7" y="1303009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069975" y="1303009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911512" y="1303009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7" y="2988100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9872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4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069975" y="2988100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98727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6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6911512" y="2988100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561619751"/>
      </p:ext>
    </p:extLst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721538" y="1303009"/>
            <a:ext cx="2669009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709852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6002681" y="1303009"/>
            <a:ext cx="2669009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78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721538" y="2988100"/>
            <a:ext cx="2669009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709852" y="2987278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4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6002681" y="2988100"/>
            <a:ext cx="2669009" cy="1456681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>
              <a:buNone/>
              <a:defRPr sz="9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9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333033535"/>
      </p:ext>
    </p:extLst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173186" y="1284629"/>
            <a:ext cx="1049445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431557" y="2497528"/>
            <a:ext cx="2532703" cy="1802414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013518" y="1284629"/>
            <a:ext cx="1049445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271890" y="2497528"/>
            <a:ext cx="2532703" cy="1802414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850601" y="1284626"/>
            <a:ext cx="1049445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108972" y="2497528"/>
            <a:ext cx="2532703" cy="1802414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96015271"/>
      </p:ext>
    </p:extLst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6213" y="1356635"/>
            <a:ext cx="1049445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39452" y="2569537"/>
            <a:ext cx="1802967" cy="1802414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019126" y="1356635"/>
            <a:ext cx="1049445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2642365" y="2569537"/>
            <a:ext cx="1802967" cy="1802414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5122004" y="1356635"/>
            <a:ext cx="1049445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4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4745243" y="2569537"/>
            <a:ext cx="1802967" cy="1802414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224912" y="1356635"/>
            <a:ext cx="1049445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6848151" y="2569537"/>
            <a:ext cx="1802967" cy="1802414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i="1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44" hasCustomPrompt="1"/>
          </p:nvPr>
        </p:nvSpPr>
        <p:spPr>
          <a:xfrm>
            <a:off x="431540" y="84355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158713835"/>
      </p:ext>
    </p:extLst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51569"/>
            <a:ext cx="1874440" cy="265176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484564" y="951569"/>
            <a:ext cx="1976081" cy="2651760"/>
          </a:xfrm>
        </p:spPr>
        <p:txBody>
          <a:bodyPr>
            <a:noAutofit/>
          </a:bodyPr>
          <a:lstStyle>
            <a:lvl1pPr marL="0" indent="0">
              <a:buNone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113110" indent="-113110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01229" indent="-155972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4pPr>
            <a:lvl5pPr marL="571486" indent="-171446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32001" y="3735424"/>
            <a:ext cx="4028640" cy="719138"/>
          </a:xfrm>
        </p:spPr>
        <p:txBody>
          <a:bodyPr>
            <a:noAutofit/>
          </a:bodyPr>
          <a:lstStyle>
            <a:lvl1pPr marL="0" indent="0">
              <a:buNone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228594" indent="-114297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400040" indent="-171446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4pPr>
            <a:lvl5pPr marL="571486" indent="-171446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93479" y="3735424"/>
            <a:ext cx="4018521" cy="719138"/>
          </a:xfrm>
        </p:spPr>
        <p:txBody>
          <a:bodyPr>
            <a:noAutofit/>
          </a:bodyPr>
          <a:lstStyle>
            <a:lvl1pPr marL="0" indent="0">
              <a:buNone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228594" indent="-114297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400040" indent="-171446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4pPr>
            <a:lvl5pPr marL="571486" indent="-171446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82068" y="951569"/>
            <a:ext cx="1874440" cy="265176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734634" y="951569"/>
            <a:ext cx="1976081" cy="2651760"/>
          </a:xfrm>
        </p:spPr>
        <p:txBody>
          <a:bodyPr>
            <a:noAutofit/>
          </a:bodyPr>
          <a:lstStyle>
            <a:lvl1pPr marL="0" indent="0">
              <a:buNone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2pPr>
            <a:lvl3pPr marL="113110" indent="-113110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3pPr>
            <a:lvl4pPr marL="301229" indent="-155972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4pPr>
            <a:lvl5pPr marL="571486" indent="-171446">
              <a:defRPr sz="1100" b="0">
                <a:solidFill>
                  <a:schemeClr val="tx1">
                    <a:lumMod val="7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6504854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gradFill>
          <a:gsLst>
            <a:gs pos="0">
              <a:schemeClr val="accent1"/>
            </a:gs>
            <a:gs pos="100000">
              <a:schemeClr val="accent5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1778672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gradFill>
          <a:gsLst>
            <a:gs pos="0">
              <a:schemeClr val="accent1"/>
            </a:gs>
            <a:gs pos="100000">
              <a:schemeClr val="accent5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8"/>
            <a:ext cx="9144000" cy="5143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1540" y="210794"/>
            <a:ext cx="828092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8020519"/>
      </p:ext>
    </p:extLst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gradFill>
          <a:gsLst>
            <a:gs pos="0">
              <a:schemeClr val="accent1"/>
            </a:gs>
            <a:gs pos="100000">
              <a:schemeClr val="accent5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8"/>
            <a:ext cx="9144000" cy="5143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</a:pPr>
            <a:endParaRPr lang="en-IN" b="0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794"/>
            <a:ext cx="8280000" cy="6131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8236022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bg>
      <p:bgPr>
        <a:gradFill>
          <a:gsLst>
            <a:gs pos="0">
              <a:schemeClr val="accent1"/>
            </a:gs>
            <a:gs pos="100000">
              <a:schemeClr val="accent5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8"/>
            <a:ext cx="9144000" cy="5143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</a:pPr>
            <a:endParaRPr lang="en-IN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8573415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541" y="735558"/>
            <a:ext cx="8280920" cy="3542680"/>
          </a:xfrm>
        </p:spPr>
        <p:txBody>
          <a:bodyPr>
            <a:normAutofit/>
          </a:bodyPr>
          <a:lstStyle>
            <a:lvl1pPr algn="l" defTabSz="685784" rtl="0" eaLnBrk="1" latinLnBrk="0" hangingPunct="1">
              <a:spcBef>
                <a:spcPct val="20000"/>
              </a:spcBef>
              <a:buClrTx/>
              <a:defRPr lang="en-US" sz="1050" kern="800" spc="-8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algn="l" defTabSz="685784" rtl="0" eaLnBrk="1" latinLnBrk="0" hangingPunct="1">
              <a:spcBef>
                <a:spcPct val="20000"/>
              </a:spcBef>
              <a:buClrTx/>
              <a:defRPr lang="en-US" sz="1050" kern="800" spc="-8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>
              <a:spcBef>
                <a:spcPts val="675"/>
              </a:spcBef>
              <a:defRPr sz="1050">
                <a:latin typeface="Calibri" panose="020F0502020204030204" pitchFamily="34" charset="0"/>
              </a:defRPr>
            </a:lvl3pPr>
            <a:lvl4pPr>
              <a:spcBef>
                <a:spcPts val="675"/>
              </a:spcBef>
              <a:defRPr sz="1050">
                <a:latin typeface="Calibri" panose="020F0502020204030204" pitchFamily="34" charset="0"/>
              </a:defRPr>
            </a:lvl4pPr>
            <a:lvl5pPr>
              <a:spcBef>
                <a:spcPts val="675"/>
              </a:spcBef>
              <a:defRPr sz="105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42240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1491630"/>
            <a:ext cx="6851104" cy="1537878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382370180"/>
      </p:ext>
    </p:extLst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541" y="735558"/>
            <a:ext cx="8280920" cy="3542680"/>
          </a:xfrm>
        </p:spPr>
        <p:txBody>
          <a:bodyPr>
            <a:normAutofit/>
          </a:bodyPr>
          <a:lstStyle>
            <a:lvl1pPr algn="l" defTabSz="685784" rtl="0" eaLnBrk="1" latinLnBrk="0" hangingPunct="1">
              <a:spcBef>
                <a:spcPct val="20000"/>
              </a:spcBef>
              <a:buClrTx/>
              <a:defRPr lang="en-US" sz="1500" kern="800" spc="-8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algn="l" defTabSz="685784" rtl="0" eaLnBrk="1" latinLnBrk="0" hangingPunct="1">
              <a:spcBef>
                <a:spcPct val="20000"/>
              </a:spcBef>
              <a:buClrTx/>
              <a:defRPr lang="en-US" sz="1200" kern="800" spc="-8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>
              <a:spcBef>
                <a:spcPts val="675"/>
              </a:spcBef>
              <a:defRPr sz="1050">
                <a:latin typeface="Calibri" panose="020F0502020204030204" pitchFamily="34" charset="0"/>
              </a:defRPr>
            </a:lvl3pPr>
            <a:lvl4pPr>
              <a:spcBef>
                <a:spcPts val="675"/>
              </a:spcBef>
              <a:defRPr sz="1050">
                <a:latin typeface="Calibri" panose="020F0502020204030204" pitchFamily="34" charset="0"/>
              </a:defRPr>
            </a:lvl4pPr>
            <a:lvl5pPr>
              <a:spcBef>
                <a:spcPts val="675"/>
              </a:spcBef>
              <a:defRPr sz="105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2876662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541" y="1113590"/>
            <a:ext cx="8280920" cy="3525003"/>
          </a:xfrm>
        </p:spPr>
        <p:txBody>
          <a:bodyPr/>
          <a:lstStyle>
            <a:lvl1pPr marL="134541" marR="0" indent="-134541" algn="l" defTabSz="68578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>
                <a:latin typeface="Calibri" panose="020F0502020204030204" pitchFamily="34" charset="0"/>
              </a:defRPr>
            </a:lvl1pPr>
            <a:lvl2pPr marL="258360" marR="0" indent="-129776" algn="l" defTabSz="68578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>
                <a:latin typeface="Calibri" panose="020F0502020204030204" pitchFamily="34" charset="0"/>
              </a:defRPr>
            </a:lvl2pPr>
            <a:lvl3pPr>
              <a:spcBef>
                <a:spcPts val="675"/>
              </a:spcBef>
              <a:defRPr>
                <a:latin typeface="Calibri" panose="020F0502020204030204" pitchFamily="34" charset="0"/>
              </a:defRPr>
            </a:lvl3pPr>
            <a:lvl4pPr>
              <a:spcBef>
                <a:spcPts val="675"/>
              </a:spcBef>
              <a:defRPr>
                <a:latin typeface="Calibri" panose="020F0502020204030204" pitchFamily="34" charset="0"/>
              </a:defRPr>
            </a:lvl4pPr>
            <a:lvl5pPr>
              <a:spcBef>
                <a:spcPts val="675"/>
              </a:spcBef>
              <a:defRPr>
                <a:latin typeface="Calibri" panose="020F0502020204030204" pitchFamily="34" charset="0"/>
              </a:defRPr>
            </a:lvl5pPr>
          </a:lstStyle>
          <a:p>
            <a:pPr marL="134541" marR="0" lvl="0" indent="-134541" algn="l" defTabSz="68578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50" b="0" i="0" u="none" strike="noStrike" kern="800" cap="none" spc="-8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dit Master text styles</a:t>
            </a:r>
          </a:p>
          <a:p>
            <a:pPr marL="258360" marR="0" lvl="1" indent="-129776" algn="l" defTabSz="68578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80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econd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541" y="735546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0071177"/>
      </p:ext>
    </p:extLst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541" y="735556"/>
            <a:ext cx="8280920" cy="3578684"/>
          </a:xfrm>
        </p:spPr>
        <p:txBody>
          <a:bodyPr numCol="2" spcCol="205740">
            <a:normAutofit/>
          </a:bodyPr>
          <a:lstStyle>
            <a:lvl1pPr marL="134541" marR="0" indent="-134541" algn="l" defTabSz="68578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050">
                <a:latin typeface="Calibri" panose="020F0502020204030204" pitchFamily="34" charset="0"/>
              </a:defRPr>
            </a:lvl1pPr>
            <a:lvl2pPr marL="258360" marR="0" indent="-129776" algn="l" defTabSz="68578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050">
                <a:latin typeface="Calibri" panose="020F0502020204030204" pitchFamily="34" charset="0"/>
              </a:defRPr>
            </a:lvl2pPr>
            <a:lvl3pPr marL="267884" indent="-139300">
              <a:spcBef>
                <a:spcPts val="675"/>
              </a:spcBef>
              <a:buFont typeface="Open Sans Light" panose="020B0306030504020204" pitchFamily="34" charset="0"/>
              <a:buChar char="–"/>
              <a:defRPr sz="1050">
                <a:latin typeface="Calibri" panose="020F0502020204030204" pitchFamily="34" charset="0"/>
              </a:defRPr>
            </a:lvl3pPr>
            <a:lvl4pPr marL="385753" indent="-128585">
              <a:spcBef>
                <a:spcPts val="675"/>
              </a:spcBef>
              <a:buFont typeface="Arial" panose="020B0604020202020204" pitchFamily="34" charset="0"/>
              <a:buChar char="•"/>
              <a:defRPr sz="1050">
                <a:latin typeface="Calibri" panose="020F0502020204030204" pitchFamily="34" charset="0"/>
              </a:defRPr>
            </a:lvl4pPr>
            <a:lvl5pPr marL="514337" indent="-128585">
              <a:spcBef>
                <a:spcPts val="675"/>
              </a:spcBef>
              <a:buFont typeface="Open Sans Light" panose="020B0306030504020204" pitchFamily="34" charset="0"/>
              <a:buChar char="–"/>
              <a:defRPr sz="1050">
                <a:latin typeface="Calibri" panose="020F0502020204030204" pitchFamily="34" charset="0"/>
              </a:defRPr>
            </a:lvl5pPr>
          </a:lstStyle>
          <a:p>
            <a:pPr marL="134541" marR="0" lvl="0" indent="-134541" algn="l" defTabSz="68578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50" b="0" i="0" u="none" strike="noStrike" kern="800" cap="none" spc="-8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dit Master text styles</a:t>
            </a:r>
          </a:p>
          <a:p>
            <a:pPr marL="258360" marR="0" lvl="1" indent="-129776" algn="l" defTabSz="68578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80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econd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080062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541" y="1113589"/>
            <a:ext cx="8280920" cy="3536912"/>
          </a:xfrm>
        </p:spPr>
        <p:txBody>
          <a:bodyPr numCol="2" spcCol="205740">
            <a:normAutofit/>
          </a:bodyPr>
          <a:lstStyle>
            <a:lvl1pPr marL="134541" marR="0" indent="-134541" algn="l" defTabSz="68578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050">
                <a:latin typeface="Calibri" panose="020F0502020204030204" pitchFamily="34" charset="0"/>
              </a:defRPr>
            </a:lvl1pPr>
            <a:lvl2pPr marL="258360" marR="0" indent="-129776" algn="l" defTabSz="68578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050">
                <a:latin typeface="Calibri" panose="020F0502020204030204" pitchFamily="34" charset="0"/>
              </a:defRPr>
            </a:lvl2pPr>
            <a:lvl3pPr marL="257169" indent="-128585">
              <a:spcBef>
                <a:spcPts val="675"/>
              </a:spcBef>
              <a:buFont typeface="Open Sans Light" panose="020B0306030504020204" pitchFamily="34" charset="0"/>
              <a:buChar char="–"/>
              <a:defRPr sz="1050">
                <a:latin typeface="Calibri" panose="020F0502020204030204" pitchFamily="34" charset="0"/>
              </a:defRPr>
            </a:lvl3pPr>
            <a:lvl4pPr marL="385753" indent="-128585">
              <a:spcBef>
                <a:spcPts val="675"/>
              </a:spcBef>
              <a:buFont typeface="Arial" panose="020B0604020202020204" pitchFamily="34" charset="0"/>
              <a:buChar char="•"/>
              <a:defRPr sz="1050">
                <a:latin typeface="Calibri" panose="020F0502020204030204" pitchFamily="34" charset="0"/>
              </a:defRPr>
            </a:lvl4pPr>
            <a:lvl5pPr marL="514337" indent="-128585">
              <a:spcBef>
                <a:spcPts val="675"/>
              </a:spcBef>
              <a:buFont typeface="Open Sans Light" panose="020B0306030504020204" pitchFamily="34" charset="0"/>
              <a:buChar char="–"/>
              <a:defRPr sz="1050">
                <a:latin typeface="Calibri" panose="020F0502020204030204" pitchFamily="34" charset="0"/>
              </a:defRPr>
            </a:lvl5pPr>
          </a:lstStyle>
          <a:p>
            <a:pPr marL="134541" marR="0" lvl="0" indent="-134541" algn="l" defTabSz="68578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50" b="0" i="0" u="none" strike="noStrike" kern="800" cap="none" spc="-8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dit Master text styles</a:t>
            </a:r>
          </a:p>
          <a:p>
            <a:pPr marL="258360" marR="0" lvl="1" indent="-129776" algn="l" defTabSz="68578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80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econd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541" y="735546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0586978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31541" y="1113589"/>
            <a:ext cx="4064260" cy="3421808"/>
          </a:xfrm>
        </p:spPr>
        <p:txBody>
          <a:bodyPr>
            <a:normAutofit/>
          </a:bodyPr>
          <a:lstStyle>
            <a:lvl1pPr marL="134541" marR="0" indent="-134541" algn="l" defTabSz="68578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050">
                <a:latin typeface="Calibri" panose="020F0502020204030204" pitchFamily="34" charset="0"/>
              </a:defRPr>
            </a:lvl1pPr>
            <a:lvl2pPr marL="258360" marR="0" indent="-129776" algn="l" defTabSz="68578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050">
                <a:latin typeface="Calibri" panose="020F0502020204030204" pitchFamily="34" charset="0"/>
              </a:defRPr>
            </a:lvl2pPr>
            <a:lvl3pPr>
              <a:defRPr sz="1050">
                <a:latin typeface="Calibri" panose="020F0502020204030204" pitchFamily="34" charset="0"/>
              </a:defRPr>
            </a:lvl3pPr>
            <a:lvl4pPr>
              <a:defRPr sz="1050">
                <a:latin typeface="Calibri" panose="020F0502020204030204" pitchFamily="34" charset="0"/>
              </a:defRPr>
            </a:lvl4pPr>
            <a:lvl5pPr>
              <a:defRPr sz="1050">
                <a:latin typeface="Calibri" panose="020F0502020204030204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marL="134541" marR="0" lvl="0" indent="-134541" algn="l" defTabSz="68578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50" b="0" i="0" u="none" strike="noStrike" kern="800" cap="none" spc="-8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dit Master text styles</a:t>
            </a:r>
          </a:p>
          <a:p>
            <a:pPr marL="258360" marR="0" lvl="1" indent="-129776" algn="l" defTabSz="68578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80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113589"/>
            <a:ext cx="4064260" cy="3421808"/>
          </a:xfrm>
        </p:spPr>
        <p:txBody>
          <a:bodyPr>
            <a:normAutofit/>
          </a:bodyPr>
          <a:lstStyle>
            <a:lvl1pPr marL="134541" marR="0" indent="-134541" algn="l" defTabSz="68578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050">
                <a:latin typeface="Calibri" panose="020F0502020204030204" pitchFamily="34" charset="0"/>
              </a:defRPr>
            </a:lvl1pPr>
            <a:lvl2pPr marL="258360" marR="0" indent="-129776" algn="l" defTabSz="68578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050">
                <a:latin typeface="Calibri" panose="020F0502020204030204" pitchFamily="34" charset="0"/>
              </a:defRPr>
            </a:lvl2pPr>
            <a:lvl3pPr>
              <a:defRPr sz="1050">
                <a:latin typeface="Calibri" panose="020F0502020204030204" pitchFamily="34" charset="0"/>
              </a:defRPr>
            </a:lvl3pPr>
            <a:lvl4pPr>
              <a:defRPr sz="1050">
                <a:latin typeface="Calibri" panose="020F0502020204030204" pitchFamily="34" charset="0"/>
              </a:defRPr>
            </a:lvl4pPr>
            <a:lvl5pPr>
              <a:defRPr sz="1050">
                <a:latin typeface="Calibri" panose="020F0502020204030204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marL="134541" marR="0" lvl="0" indent="-134541" algn="l" defTabSz="68578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50" b="0" i="0" u="none" strike="noStrike" kern="800" cap="none" spc="-8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dit Master text styles</a:t>
            </a:r>
          </a:p>
          <a:p>
            <a:pPr marL="258360" marR="0" lvl="1" indent="-129776" algn="l" defTabSz="68578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80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econd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541" y="735546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635430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120970"/>
      </p:ext>
    </p:extLst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431801" y="1465369"/>
            <a:ext cx="1944688" cy="1754575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2627784" y="1465369"/>
            <a:ext cx="1944688" cy="1754575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752021" y="1465369"/>
            <a:ext cx="1944688" cy="1754575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6948005" y="1465369"/>
            <a:ext cx="1944688" cy="1754575"/>
          </a:xfrm>
        </p:spPr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10071017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541" y="735546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3502422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6569416"/>
      </p:ext>
    </p:extLst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286762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73524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0286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286762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573524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860286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8642934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968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935592574"/>
      </p:ext>
    </p:extLst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828229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656457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484686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312914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171109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828229" y="171109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656457" y="171109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484686" y="171109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312914" y="171109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3422163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828229" y="3422163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3656457" y="3422163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484686" y="3422163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312914" y="3422163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54894399"/>
      </p:ext>
    </p:extLst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521562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043124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564685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607808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086247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521562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3043124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564685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1521562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3043124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564685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7607808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086247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1521562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043124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4564685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607808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6086247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74661611"/>
      </p:ext>
    </p:extLst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735547"/>
            <a:ext cx="1828800" cy="243027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825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1220" y="735547"/>
            <a:ext cx="1828800" cy="243027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825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0440" y="735547"/>
            <a:ext cx="1828800" cy="243027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825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79660" y="735547"/>
            <a:ext cx="1828800" cy="243027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825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81220" y="3273884"/>
            <a:ext cx="1828800" cy="142632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3273884"/>
            <a:ext cx="1828800" cy="142632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6865236" y="3273884"/>
            <a:ext cx="1828800" cy="142632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716016" y="3273884"/>
            <a:ext cx="1828800" cy="142632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25700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789608"/>
            <a:ext cx="2496312" cy="237626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825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789608"/>
            <a:ext cx="2496312" cy="237626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825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789608"/>
            <a:ext cx="2496312" cy="237626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825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32001" y="3273884"/>
            <a:ext cx="2483816" cy="1404155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3323845" y="3273884"/>
            <a:ext cx="2483816" cy="1404155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6216784" y="3273884"/>
            <a:ext cx="2483816" cy="1404155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104242"/>
      </p:ext>
    </p:extLst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31541" y="700088"/>
            <a:ext cx="828092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59638"/>
            <a:ext cx="2496312" cy="210623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825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059638"/>
            <a:ext cx="2496312" cy="210623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825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1059638"/>
            <a:ext cx="2496312" cy="210623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825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32001" y="3273884"/>
            <a:ext cx="2483816" cy="1404155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3323845" y="3273884"/>
            <a:ext cx="2483816" cy="1404155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6216784" y="3273884"/>
            <a:ext cx="2483816" cy="1404155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53892743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818"/>
            <a:ext cx="406799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825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47" y="1047818"/>
            <a:ext cx="4067991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825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3735445"/>
            <a:ext cx="4068000" cy="71913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644008" y="3735445"/>
            <a:ext cx="4068000" cy="71913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645221711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1" y="1047818"/>
            <a:ext cx="4068452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825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41" y="1047818"/>
            <a:ext cx="4067531" cy="255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825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3154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32000" y="3735445"/>
            <a:ext cx="4068000" cy="71913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644008" y="3735445"/>
            <a:ext cx="4068000" cy="71913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1663695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047774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82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91780" y="1047774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82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58662" y="1047774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82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83660" y="1047774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82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81220" y="2301720"/>
            <a:ext cx="1828800" cy="2376264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2301720"/>
            <a:ext cx="1828800" cy="2376264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6865236" y="2301720"/>
            <a:ext cx="1828800" cy="2376264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716016" y="2301720"/>
            <a:ext cx="1828800" cy="2376264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778110651"/>
      </p:ext>
    </p:extLst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74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82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1220" y="1047774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82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16016" y="1047774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82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5236" y="1047774"/>
            <a:ext cx="1828800" cy="11071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82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81220" y="2247761"/>
            <a:ext cx="1828800" cy="220685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2247761"/>
            <a:ext cx="1828800" cy="220685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6865236" y="2247761"/>
            <a:ext cx="1828800" cy="220685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716016" y="2247761"/>
            <a:ext cx="1828800" cy="220685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36914720"/>
      </p:ext>
    </p:extLst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0"/>
            <a:ext cx="2496312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825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047750"/>
            <a:ext cx="2496312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825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27728" y="1047750"/>
            <a:ext cx="2496312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825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32001" y="2247761"/>
            <a:ext cx="2483816" cy="232225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3323845" y="2247761"/>
            <a:ext cx="2483816" cy="232225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6216784" y="2247761"/>
            <a:ext cx="2483816" cy="232225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7539423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789594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86167465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0"/>
            <a:ext cx="4067992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825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47" y="1047750"/>
            <a:ext cx="4067991" cy="11041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825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32000" y="2301767"/>
            <a:ext cx="4068000" cy="215285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644008" y="2301767"/>
            <a:ext cx="4068000" cy="215285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52746921"/>
      </p:ext>
    </p:extLst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 dirty="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1220" y="1047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16016" y="1047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5236" y="1047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32000" y="2292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 dirty="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581220" y="2292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716016" y="2292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865236" y="2292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81220" y="3489908"/>
            <a:ext cx="1828800" cy="11881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3489908"/>
            <a:ext cx="1828800" cy="11881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6865236" y="3489908"/>
            <a:ext cx="1828800" cy="11881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716016" y="3489908"/>
            <a:ext cx="1828800" cy="11881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889553446"/>
      </p:ext>
    </p:extLst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 dirty="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1220" y="1047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16016" y="1047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5236" y="1047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32000" y="2292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 dirty="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581220" y="2292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716016" y="2292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865236" y="2292774"/>
            <a:ext cx="1828800" cy="11071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81220" y="3489908"/>
            <a:ext cx="1828800" cy="11881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3489908"/>
            <a:ext cx="1828800" cy="11881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6865236" y="3489908"/>
            <a:ext cx="1828800" cy="11881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716016" y="3489908"/>
            <a:ext cx="1828800" cy="11881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826871635"/>
      </p:ext>
    </p:extLst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0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047750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04288" y="1047750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432000" y="2295759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323844" y="2295759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204288" y="2295759"/>
            <a:ext cx="2496312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32001" y="3462647"/>
            <a:ext cx="2483816" cy="110732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3323845" y="3462647"/>
            <a:ext cx="2483816" cy="110732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42" hasCustomPrompt="1"/>
          </p:nvPr>
        </p:nvSpPr>
        <p:spPr>
          <a:xfrm>
            <a:off x="6216784" y="3462647"/>
            <a:ext cx="2483816" cy="1107328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31151449"/>
      </p:ext>
    </p:extLst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1" y="1047750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5152" y="1047750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2001" y="2295759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45152" y="2295759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32001" y="3462689"/>
            <a:ext cx="4069136" cy="117007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42" hasCustomPrompt="1"/>
          </p:nvPr>
        </p:nvSpPr>
        <p:spPr>
          <a:xfrm>
            <a:off x="4645153" y="3462689"/>
            <a:ext cx="4069136" cy="117007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21261586"/>
      </p:ext>
    </p:extLst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72"/>
            <a:ext cx="1828800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 dirty="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2400" y="1047772"/>
            <a:ext cx="1828800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2800" y="1047772"/>
            <a:ext cx="1828800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83200" y="1047772"/>
            <a:ext cx="1828800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00" y="3984512"/>
            <a:ext cx="1828800" cy="276999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2582400" y="3984512"/>
            <a:ext cx="1828800" cy="276999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732800" y="3984512"/>
            <a:ext cx="1828800" cy="276999"/>
          </a:xfrm>
          <a:solidFill>
            <a:srgbClr val="46B3C7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42"/>
          </p:nvPr>
        </p:nvSpPr>
        <p:spPr>
          <a:xfrm>
            <a:off x="6883200" y="3984512"/>
            <a:ext cx="1828800" cy="276999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479343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344" y="1047772"/>
            <a:ext cx="249631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 dirty="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047772"/>
            <a:ext cx="249631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047772"/>
            <a:ext cx="249631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344" y="3984512"/>
            <a:ext cx="2496312" cy="276999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3984512"/>
            <a:ext cx="2496312" cy="276999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3984512"/>
            <a:ext cx="2496312" cy="276999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459309534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72"/>
            <a:ext cx="406799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47" y="1047772"/>
            <a:ext cx="4067991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3970358"/>
            <a:ext cx="4066772" cy="276999"/>
          </a:xfrm>
          <a:solidFill>
            <a:srgbClr val="0065A4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95" y="3970358"/>
            <a:ext cx="4066771" cy="276999"/>
          </a:xfrm>
          <a:solidFill>
            <a:srgbClr val="00B0F0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393214757"/>
      </p:ext>
    </p:extLst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2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 dirty="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2400" y="1047752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2800" y="1047752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83200" y="1047752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32000" y="2753984"/>
            <a:ext cx="1831086" cy="276999"/>
          </a:xfrm>
          <a:solidFill>
            <a:srgbClr val="0065A4"/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582400" y="2753984"/>
            <a:ext cx="1831086" cy="276999"/>
          </a:xfrm>
          <a:solidFill>
            <a:srgbClr val="00B0F0"/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730514" y="2753984"/>
            <a:ext cx="1831086" cy="276999"/>
          </a:xfrm>
          <a:solidFill>
            <a:srgbClr val="8DB74A"/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880914" y="2753984"/>
            <a:ext cx="1831086" cy="276999"/>
          </a:xfrm>
          <a:solidFill>
            <a:srgbClr val="9C9B9F"/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81220" y="3165725"/>
            <a:ext cx="1828800" cy="1457825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3165725"/>
            <a:ext cx="1828800" cy="1457825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42" hasCustomPrompt="1"/>
          </p:nvPr>
        </p:nvSpPr>
        <p:spPr>
          <a:xfrm>
            <a:off x="6865236" y="3165725"/>
            <a:ext cx="1828800" cy="1457825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43" hasCustomPrompt="1"/>
          </p:nvPr>
        </p:nvSpPr>
        <p:spPr>
          <a:xfrm>
            <a:off x="4716016" y="3165725"/>
            <a:ext cx="1828800" cy="1457825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64566066"/>
      </p:ext>
    </p:extLst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10477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 dirty="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0477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0477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753822"/>
            <a:ext cx="2496312" cy="276999"/>
          </a:xfrm>
          <a:solidFill>
            <a:srgbClr val="0065A4"/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753822"/>
            <a:ext cx="2496312" cy="276999"/>
          </a:xfrm>
          <a:solidFill>
            <a:srgbClr val="00B0F0"/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753822"/>
            <a:ext cx="2496312" cy="276999"/>
          </a:xfrm>
          <a:solidFill>
            <a:srgbClr val="8DB74A"/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32001" y="3111731"/>
            <a:ext cx="2483816" cy="145828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3323845" y="3111731"/>
            <a:ext cx="2483816" cy="145828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42" hasCustomPrompt="1"/>
          </p:nvPr>
        </p:nvSpPr>
        <p:spPr>
          <a:xfrm>
            <a:off x="6216784" y="3111731"/>
            <a:ext cx="2483816" cy="145828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71446" indent="-85723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300030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 marL="428615" indent="-128585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3214650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134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538824820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2"/>
            <a:ext cx="406799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47" y="1047752"/>
            <a:ext cx="4067991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432076" y="3159253"/>
            <a:ext cx="4066772" cy="1277300"/>
          </a:xfrm>
        </p:spPr>
        <p:txBody>
          <a:bodyPr>
            <a:normAutofit/>
          </a:bodyPr>
          <a:lstStyle>
            <a:lvl1pPr marL="0" indent="0">
              <a:buNone/>
              <a:defRPr sz="825">
                <a:latin typeface="Calibri" panose="020F0502020204030204" pitchFamily="34" charset="0"/>
              </a:defRPr>
            </a:lvl1pPr>
            <a:lvl2pPr marL="96441" indent="-96441"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92881" indent="-96441">
              <a:defRPr sz="825">
                <a:latin typeface="Calibri" panose="020F0502020204030204" pitchFamily="34" charset="0"/>
              </a:defRPr>
            </a:lvl3pPr>
            <a:lvl4pPr marL="289322" indent="-96441">
              <a:defRPr sz="825">
                <a:latin typeface="Calibri" panose="020F0502020204030204" pitchFamily="34" charset="0"/>
              </a:defRPr>
            </a:lvl4pPr>
            <a:lvl5pP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645195" y="3159253"/>
            <a:ext cx="4066771" cy="1277300"/>
          </a:xfrm>
        </p:spPr>
        <p:txBody>
          <a:bodyPr>
            <a:normAutofit/>
          </a:bodyPr>
          <a:lstStyle>
            <a:lvl1pPr marL="0" indent="0">
              <a:buNone/>
              <a:defRPr sz="825">
                <a:latin typeface="Calibri" panose="020F0502020204030204" pitchFamily="34" charset="0"/>
              </a:defRPr>
            </a:lvl1pPr>
            <a:lvl2pPr marL="128588" indent="-128588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92881" indent="-96441">
              <a:buClr>
                <a:schemeClr val="accent4"/>
              </a:buClr>
              <a:defRPr sz="825">
                <a:latin typeface="Calibri" panose="020F0502020204030204" pitchFamily="34" charset="0"/>
              </a:defRPr>
            </a:lvl3pPr>
            <a:lvl4pPr marL="289322" indent="-96441">
              <a:buClr>
                <a:schemeClr val="accent4"/>
              </a:buClr>
              <a:defRPr sz="825">
                <a:latin typeface="Calibri" panose="020F0502020204030204" pitchFamily="34" charset="0"/>
              </a:defRPr>
            </a:lvl4pPr>
            <a:lvl5pPr>
              <a:buClr>
                <a:schemeClr val="accent4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2757290"/>
            <a:ext cx="4066772" cy="276999"/>
          </a:xfrm>
          <a:solidFill>
            <a:srgbClr val="0065A4"/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95" y="2757290"/>
            <a:ext cx="4066771" cy="276999"/>
          </a:xfrm>
          <a:solidFill>
            <a:srgbClr val="8DB74A"/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530203"/>
      </p:ext>
    </p:extLst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74"/>
            <a:ext cx="406799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47" y="1047774"/>
            <a:ext cx="4067991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3804148"/>
            <a:ext cx="4066772" cy="443198"/>
          </a:xfrm>
          <a:solidFill>
            <a:srgbClr val="0065A4"/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95" y="3804148"/>
            <a:ext cx="4066771" cy="443198"/>
          </a:xfrm>
          <a:solidFill>
            <a:srgbClr val="8DB74A"/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613172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3980182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613172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10477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 dirty="0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0477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0477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825">
                <a:latin typeface="Calibri" panose="020F050202020403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587618"/>
            <a:ext cx="2496312" cy="443198"/>
          </a:xfrm>
          <a:solidFill>
            <a:srgbClr val="0065A4"/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587618"/>
            <a:ext cx="2496312" cy="443198"/>
          </a:xfrm>
          <a:solidFill>
            <a:srgbClr val="00B0F0"/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587618"/>
            <a:ext cx="2496312" cy="443198"/>
          </a:xfrm>
          <a:solidFill>
            <a:srgbClr val="9C9B9F"/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900">
                <a:solidFill>
                  <a:srgbClr val="FFFFFF"/>
                </a:solidFill>
                <a:latin typeface="Calibri" panose="020F0502020204030204" pitchFamily="34" charset="0"/>
              </a:defRPr>
            </a:lvl2pPr>
            <a:lvl3pPr marL="192881" indent="-96441">
              <a:defRPr sz="825">
                <a:solidFill>
                  <a:srgbClr val="FFFFFF"/>
                </a:solidFill>
              </a:defRPr>
            </a:lvl3pPr>
            <a:lvl4pPr marL="289322" indent="-96441">
              <a:defRPr sz="825">
                <a:solidFill>
                  <a:srgbClr val="FFFFFF"/>
                </a:solidFill>
              </a:defRPr>
            </a:lvl4pPr>
            <a:lvl5pPr marL="417910" indent="-128588">
              <a:defRPr sz="825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435540" y="3159410"/>
            <a:ext cx="2496312" cy="1313019"/>
          </a:xfrm>
        </p:spPr>
        <p:txBody>
          <a:bodyPr>
            <a:normAutofit/>
          </a:bodyPr>
          <a:lstStyle>
            <a:lvl1pPr marL="0" indent="0">
              <a:buNone/>
              <a:defRPr sz="825">
                <a:latin typeface="Calibri" panose="020F0502020204030204" pitchFamily="34" charset="0"/>
              </a:defRPr>
            </a:lvl1pPr>
            <a:lvl2pPr marL="96441" indent="-96441"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92881" indent="-96441">
              <a:defRPr sz="825">
                <a:latin typeface="Calibri" panose="020F0502020204030204" pitchFamily="34" charset="0"/>
              </a:defRPr>
            </a:lvl3pPr>
            <a:lvl4pPr marL="289322" indent="-96441">
              <a:defRPr sz="825">
                <a:latin typeface="Calibri" panose="020F0502020204030204" pitchFamily="34" charset="0"/>
              </a:defRPr>
            </a:lvl4pPr>
            <a:lvl5pP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Content Placeholder 13"/>
          <p:cNvSpPr>
            <a:spLocks noGrp="1"/>
          </p:cNvSpPr>
          <p:nvPr>
            <p:ph sz="quarter" idx="19" hasCustomPrompt="1"/>
          </p:nvPr>
        </p:nvSpPr>
        <p:spPr>
          <a:xfrm>
            <a:off x="3323844" y="3159410"/>
            <a:ext cx="2496312" cy="1313019"/>
          </a:xfrm>
        </p:spPr>
        <p:txBody>
          <a:bodyPr>
            <a:normAutofit/>
          </a:bodyPr>
          <a:lstStyle>
            <a:lvl1pPr marL="0" indent="0">
              <a:buNone/>
              <a:defRPr sz="825">
                <a:latin typeface="Calibri" panose="020F0502020204030204" pitchFamily="34" charset="0"/>
              </a:defRPr>
            </a:lvl1pPr>
            <a:lvl2pPr marL="96441" indent="-96441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92881" indent="-96441">
              <a:buClr>
                <a:schemeClr val="accent4"/>
              </a:buClr>
              <a:defRPr sz="825">
                <a:latin typeface="Calibri" panose="020F0502020204030204" pitchFamily="34" charset="0"/>
              </a:defRPr>
            </a:lvl3pPr>
            <a:lvl4pPr marL="289322" indent="-96441">
              <a:buClr>
                <a:schemeClr val="accent4"/>
              </a:buClr>
              <a:defRPr sz="825">
                <a:latin typeface="Calibri" panose="020F0502020204030204" pitchFamily="34" charset="0"/>
              </a:defRPr>
            </a:lvl4pPr>
            <a:lvl5pPr>
              <a:buClr>
                <a:schemeClr val="accent4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6215688" y="3159410"/>
            <a:ext cx="2496312" cy="1313019"/>
          </a:xfrm>
        </p:spPr>
        <p:txBody>
          <a:bodyPr>
            <a:normAutofit/>
          </a:bodyPr>
          <a:lstStyle>
            <a:lvl1pPr marL="0" indent="0">
              <a:buNone/>
              <a:defRPr sz="825">
                <a:latin typeface="Calibri" panose="020F0502020204030204" pitchFamily="34" charset="0"/>
              </a:defRPr>
            </a:lvl1pPr>
            <a:lvl2pPr marL="96441" indent="-96441">
              <a:buClrTx/>
              <a:buFont typeface="Wingdings" panose="05000000000000000000" pitchFamily="2" charset="2"/>
              <a:buChar char="§"/>
              <a:defRPr sz="825">
                <a:latin typeface="Calibri" panose="020F0502020204030204" pitchFamily="34" charset="0"/>
              </a:defRPr>
            </a:lvl2pPr>
            <a:lvl3pPr marL="192881" indent="-96441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3pPr>
            <a:lvl4pPr marL="289322" indent="-96441"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4pPr>
            <a:lvl5pPr>
              <a:buClr>
                <a:schemeClr val="accent3"/>
              </a:buClr>
              <a:defRPr sz="825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59400640"/>
      </p:ext>
    </p:extLst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22984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1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75" y="1229843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612783" y="122984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3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409713" y="1229843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4794025" y="122984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5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5590946" y="1229843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75267" y="122984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7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7772202" y="1229843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36516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9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75" y="2365177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612783" y="236516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1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3409713" y="2365177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2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94025" y="236516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3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5590946" y="2365177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975267" y="236516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5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7772202" y="2365177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6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0047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7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228475" y="3500499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8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2612783" y="350047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9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3409713" y="3500499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0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794025" y="350047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1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5590946" y="3500499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2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975267" y="350047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3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7772202" y="3500499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017110122"/>
      </p:ext>
    </p:extLst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22984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7" y="1229843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22984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5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069975" y="1229843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22984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911512" y="1229843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36516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9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7" y="2365177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365161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7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069975" y="2365177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8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36516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0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6911512" y="2365177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0047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228437" y="3500499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70244" y="350047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069975" y="3500499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108947" y="35004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6911512" y="3500499"/>
            <a:ext cx="1735806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418760305"/>
      </p:ext>
    </p:extLst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22984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7" y="1230067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22984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069975" y="1230067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22984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911512" y="1230067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14933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7" y="2915159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914933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069975" y="2915159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914932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6911512" y="2915159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05108054"/>
      </p:ext>
    </p:extLst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1" y="1229845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721538" y="1230067"/>
            <a:ext cx="2669009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709853" y="1229845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6002688" y="1230067"/>
            <a:ext cx="2669009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1" y="2914954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721538" y="2915159"/>
            <a:ext cx="2669009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709853" y="2914954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6002688" y="2915159"/>
            <a:ext cx="2669009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122173887"/>
      </p:ext>
    </p:extLst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84058" y="1229843"/>
            <a:ext cx="1400400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431580" y="2442766"/>
            <a:ext cx="2532703" cy="180241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 algn="l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822976" y="1229843"/>
            <a:ext cx="1400400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270592" y="2442766"/>
            <a:ext cx="2532703" cy="180241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 algn="l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661473" y="1229843"/>
            <a:ext cx="1400400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108998" y="2442766"/>
            <a:ext cx="2532703" cy="180241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 algn="l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206779380"/>
      </p:ext>
    </p:extLst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758143" y="1229843"/>
            <a:ext cx="1400400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39452" y="2442766"/>
            <a:ext cx="1802967" cy="180241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 algn="l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861056" y="1229843"/>
            <a:ext cx="1400400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2642365" y="2442766"/>
            <a:ext cx="1802967" cy="180241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 algn="l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4963934" y="1229843"/>
            <a:ext cx="1400400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4745243" y="2442766"/>
            <a:ext cx="1802967" cy="180241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 algn="l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066842" y="1229843"/>
            <a:ext cx="1400400" cy="10494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675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6848158" y="2442766"/>
            <a:ext cx="1802967" cy="180241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825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825" i="1">
                <a:latin typeface="Calibri" panose="020F0502020204030204" pitchFamily="34" charset="0"/>
              </a:defRPr>
            </a:lvl2pPr>
            <a:lvl3pPr marL="0" indent="0" algn="l">
              <a:lnSpc>
                <a:spcPct val="100000"/>
              </a:lnSpc>
              <a:buNone/>
              <a:defRPr sz="825">
                <a:latin typeface="Calibri" panose="020F0502020204030204" pitchFamily="34" charset="0"/>
              </a:defRPr>
            </a:lvl3pPr>
            <a:lvl4pPr marL="289322" indent="-96441">
              <a:defRPr sz="675"/>
            </a:lvl4pPr>
            <a:lvl5pPr>
              <a:defRPr sz="675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735064639"/>
      </p:ext>
    </p:extLst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51589"/>
            <a:ext cx="1874440" cy="265176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9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484577" y="951589"/>
            <a:ext cx="1976081" cy="2651760"/>
          </a:xfrm>
        </p:spPr>
        <p:txBody>
          <a:bodyPr>
            <a:noAutofit/>
          </a:bodyPr>
          <a:lstStyle>
            <a:lvl1pPr marL="0" indent="0">
              <a:buNone/>
              <a:defRPr sz="900" b="1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9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2pPr>
            <a:lvl3pPr marL="84833" indent="-84833">
              <a:buClrTx/>
              <a:buFont typeface="Wingdings" panose="05000000000000000000" pitchFamily="2" charset="2"/>
              <a:buChar char="§"/>
              <a:defRPr sz="9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3pPr>
            <a:lvl4pPr marL="225922" indent="-116979">
              <a:defRPr sz="9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4pPr>
            <a:lvl5pPr marL="428615" indent="-128585">
              <a:defRPr sz="9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32001" y="3735445"/>
            <a:ext cx="4028640" cy="719138"/>
          </a:xfrm>
        </p:spPr>
        <p:txBody>
          <a:bodyPr>
            <a:noAutofit/>
          </a:bodyPr>
          <a:lstStyle>
            <a:lvl1pPr marL="0" indent="0">
              <a:buNone/>
              <a:defRPr sz="825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1pPr>
            <a:lvl2pPr marL="85723" indent="-85723">
              <a:buFont typeface="Wingdings" panose="05000000000000000000" pitchFamily="2" charset="2"/>
              <a:buChar char="§"/>
              <a:defRPr sz="825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2pPr>
            <a:lvl3pPr marL="171446" indent="-85723">
              <a:defRPr sz="825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3pPr>
            <a:lvl4pPr marL="300030" indent="-128585">
              <a:defRPr sz="825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4pPr>
            <a:lvl5pPr marL="428615" indent="-128585">
              <a:defRPr sz="825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93486" y="3735445"/>
            <a:ext cx="4018521" cy="719138"/>
          </a:xfrm>
        </p:spPr>
        <p:txBody>
          <a:bodyPr>
            <a:noAutofit/>
          </a:bodyPr>
          <a:lstStyle>
            <a:lvl1pPr marL="0" indent="0">
              <a:buNone/>
              <a:defRPr sz="825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1pPr>
            <a:lvl2pPr marL="85723" indent="-85723">
              <a:buFont typeface="Wingdings" panose="05000000000000000000" pitchFamily="2" charset="2"/>
              <a:buChar char="§"/>
              <a:defRPr sz="825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2pPr>
            <a:lvl3pPr marL="171446" indent="-85723">
              <a:defRPr sz="825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3pPr>
            <a:lvl4pPr marL="300030" indent="-128585">
              <a:defRPr sz="825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4pPr>
            <a:lvl5pPr marL="428615" indent="-128585">
              <a:defRPr sz="825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82068" y="951589"/>
            <a:ext cx="1874440" cy="265176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9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734641" y="951589"/>
            <a:ext cx="1976081" cy="2651760"/>
          </a:xfrm>
        </p:spPr>
        <p:txBody>
          <a:bodyPr>
            <a:noAutofit/>
          </a:bodyPr>
          <a:lstStyle>
            <a:lvl1pPr marL="0" indent="0">
              <a:buNone/>
              <a:defRPr sz="900" b="1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9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2pPr>
            <a:lvl3pPr marL="84833" indent="-84833">
              <a:buClrTx/>
              <a:buFont typeface="Wingdings" panose="05000000000000000000" pitchFamily="2" charset="2"/>
              <a:buChar char="§"/>
              <a:defRPr sz="9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3pPr>
            <a:lvl4pPr marL="225922" indent="-116979">
              <a:defRPr sz="9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4pPr>
            <a:lvl5pPr marL="428615" indent="-128585">
              <a:defRPr sz="90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9994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626330017"/>
      </p:ext>
    </p:extLst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8290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"/>
            <a:ext cx="9144000" cy="51423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4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32000" y="700088"/>
            <a:ext cx="8280000" cy="3048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2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072256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2"/>
            <a:ext cx="9144000" cy="51423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4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32000" y="210130"/>
            <a:ext cx="8280000" cy="47141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7445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"/>
            <a:ext cx="9144000" cy="51423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4"/>
            <a:endParaRPr lang="en-IN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894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2 - inn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558" y="3025658"/>
            <a:ext cx="6480719" cy="7882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Your Sub headline will g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599642"/>
            <a:ext cx="6480720" cy="14259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</a:t>
            </a:r>
          </a:p>
          <a:p>
            <a:pPr lvl="0"/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5174750"/>
      </p:ext>
    </p:extLst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defTabSz="685784"/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843956919"/>
      </p:ext>
    </p:extLst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05696541"/>
      </p:ext>
    </p:extLst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71083299"/>
      </p:ext>
    </p:extLst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1189312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8445324"/>
      </p:ext>
    </p:extLst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31540" y="1189312"/>
            <a:ext cx="4068452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/>
          </p:nvPr>
        </p:nvSpPr>
        <p:spPr>
          <a:xfrm>
            <a:off x="4644008" y="1189312"/>
            <a:ext cx="4068452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6607895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60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802660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267701324"/>
      </p:ext>
    </p:extLst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5809600"/>
      </p:ext>
    </p:extLst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899928"/>
      </p:ext>
    </p:extLst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7200" y="1200150"/>
            <a:ext cx="18288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362200" y="1200150"/>
            <a:ext cx="18288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267200" y="1200150"/>
            <a:ext cx="18288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72200" y="1200150"/>
            <a:ext cx="1828800" cy="182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1461877"/>
      </p:ext>
    </p:extLst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3485779"/>
      </p:ext>
    </p:extLst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286762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73524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0286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286762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573524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860286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4899127"/>
      </p:ext>
    </p:extLst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828229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656457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484686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312914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828229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656457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484686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312914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828229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3656457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484686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312914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15130064"/>
      </p:ext>
    </p:extLst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521562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043124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564685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607808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086247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521562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3043124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564685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1521562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3043124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564685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7607808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086247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1521562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043124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4564685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607808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6086247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86863724"/>
      </p:ext>
    </p:extLst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122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044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7966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8122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73932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7966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7861865"/>
      </p:ext>
    </p:extLst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7464492"/>
      </p:ext>
    </p:extLst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03643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203643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1203643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486690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253299890"/>
      </p:ext>
    </p:extLst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15566"/>
            <a:ext cx="4067992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915566"/>
            <a:ext cx="4067991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44008" y="2643759"/>
            <a:ext cx="40680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2643759"/>
            <a:ext cx="40680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8308457"/>
      </p:ext>
    </p:extLst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03598"/>
            <a:ext cx="4067992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203598"/>
            <a:ext cx="4067991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44008" y="2931790"/>
            <a:ext cx="40680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2931790"/>
            <a:ext cx="40680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321158"/>
      </p:ext>
    </p:extLst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56083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80166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04248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32000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556083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80166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804248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56083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80166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04248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8807792"/>
      </p:ext>
    </p:extLst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56083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80166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04248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32000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556083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80166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804248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56083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80166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04248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4595544"/>
      </p:ext>
    </p:extLst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431540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323844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215688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579862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579862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579862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4164578"/>
      </p:ext>
    </p:extLst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10866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2099969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377373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3767938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9"/>
          </p:nvPr>
        </p:nvSpPr>
        <p:spPr>
          <a:xfrm>
            <a:off x="543880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50"/>
          </p:nvPr>
        </p:nvSpPr>
        <p:spPr>
          <a:xfrm>
            <a:off x="5435907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51"/>
          </p:nvPr>
        </p:nvSpPr>
        <p:spPr>
          <a:xfrm>
            <a:off x="710387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52"/>
          </p:nvPr>
        </p:nvSpPr>
        <p:spPr>
          <a:xfrm>
            <a:off x="7103878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3997450"/>
      </p:ext>
    </p:extLst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10866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2099969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377373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3767938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9"/>
          </p:nvPr>
        </p:nvSpPr>
        <p:spPr>
          <a:xfrm>
            <a:off x="543880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50"/>
          </p:nvPr>
        </p:nvSpPr>
        <p:spPr>
          <a:xfrm>
            <a:off x="5435907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51"/>
          </p:nvPr>
        </p:nvSpPr>
        <p:spPr>
          <a:xfrm>
            <a:off x="710387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52"/>
          </p:nvPr>
        </p:nvSpPr>
        <p:spPr>
          <a:xfrm>
            <a:off x="7103878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0568053"/>
      </p:ext>
    </p:extLst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61992" y="1200150"/>
            <a:ext cx="4104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4644713" y="1200150"/>
            <a:ext cx="4104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4635309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3393967"/>
      </p:ext>
    </p:extLst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442945" y="3292475"/>
            <a:ext cx="4105275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643464" y="3292475"/>
            <a:ext cx="4105275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6"/>
            <a:ext cx="4104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4644008" y="915566"/>
            <a:ext cx="4104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4635309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4452201"/>
      </p:ext>
    </p:extLst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42920" y="3292475"/>
            <a:ext cx="2700337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228975" y="3292475"/>
            <a:ext cx="2700338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13450" y="3292475"/>
            <a:ext cx="2700338" cy="431800"/>
          </a:xfrm>
          <a:prstGeom prst="rect">
            <a:avLst/>
          </a:prstGeom>
          <a:solidFill>
            <a:srgbClr val="1D6E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3228919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322022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6014239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6008439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93748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27863891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125881730"/>
      </p:ext>
    </p:extLst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42920" y="3292475"/>
            <a:ext cx="2700337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228975" y="3292475"/>
            <a:ext cx="2700338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013450" y="3292475"/>
            <a:ext cx="2700338" cy="431800"/>
          </a:xfrm>
          <a:prstGeom prst="rect">
            <a:avLst/>
          </a:prstGeom>
          <a:solidFill>
            <a:srgbClr val="1D6E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3228919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322022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6014239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6008439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9903363"/>
      </p:ext>
    </p:extLst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0"/>
            <a:ext cx="406799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047750"/>
            <a:ext cx="4067991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3924234"/>
            <a:ext cx="4066772" cy="323165"/>
          </a:xfrm>
          <a:solidFill>
            <a:srgbClr val="0065A4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69" y="3924234"/>
            <a:ext cx="4066771" cy="323165"/>
          </a:xfrm>
          <a:solidFill>
            <a:srgbClr val="8DB74A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728915"/>
      </p:ext>
    </p:extLst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24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28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832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32000" y="2630576"/>
            <a:ext cx="1831086" cy="507831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582400" y="2630576"/>
            <a:ext cx="1831086" cy="507831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730514" y="2630576"/>
            <a:ext cx="1831086" cy="507831"/>
          </a:xfrm>
          <a:solidFill>
            <a:srgbClr val="46B3C7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880914" y="2630576"/>
            <a:ext cx="1831086" cy="507831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432000" y="3266847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24"/>
          </p:nvPr>
        </p:nvSpPr>
        <p:spPr>
          <a:xfrm>
            <a:off x="2582400" y="3266847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5"/>
          </p:nvPr>
        </p:nvSpPr>
        <p:spPr>
          <a:xfrm>
            <a:off x="4730514" y="3266847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6"/>
          </p:nvPr>
        </p:nvSpPr>
        <p:spPr>
          <a:xfrm>
            <a:off x="6880914" y="3266847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6194157"/>
      </p:ext>
    </p:extLst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823426"/>
            <a:ext cx="2496312" cy="323165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823426"/>
            <a:ext cx="2496312" cy="323165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823426"/>
            <a:ext cx="2496312" cy="323165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13"/>
          <p:cNvSpPr>
            <a:spLocks noGrp="1"/>
          </p:cNvSpPr>
          <p:nvPr>
            <p:ph sz="quarter" idx="18"/>
          </p:nvPr>
        </p:nvSpPr>
        <p:spPr>
          <a:xfrm>
            <a:off x="435540" y="3274955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Font typeface="Arial" panose="020B0604020202020204" pitchFamily="34" charset="0"/>
              <a:buChar char="•"/>
              <a:defRPr sz="1100"/>
            </a:lvl2pPr>
            <a:lvl3pPr marL="257175" indent="-128588">
              <a:defRPr sz="1100"/>
            </a:lvl3pPr>
            <a:lvl4pPr marL="385763" indent="-128588"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274955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/>
            </a:lvl2pPr>
            <a:lvl3pPr marL="257175" indent="-128588">
              <a:buClr>
                <a:schemeClr val="accent4"/>
              </a:buClr>
              <a:defRPr sz="1100"/>
            </a:lvl3pPr>
            <a:lvl4pPr marL="385763" indent="-128588">
              <a:buClr>
                <a:schemeClr val="accent4"/>
              </a:buClr>
              <a:defRPr sz="1100"/>
            </a:lvl4pPr>
            <a:lvl5pPr>
              <a:buClr>
                <a:schemeClr val="accent4"/>
              </a:buCl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0"/>
          </p:nvPr>
        </p:nvSpPr>
        <p:spPr>
          <a:xfrm>
            <a:off x="6215688" y="3274955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/>
            </a:lvl2pPr>
            <a:lvl3pPr marL="257175" indent="-128588">
              <a:buClr>
                <a:schemeClr val="accent3"/>
              </a:buClr>
              <a:defRPr sz="1100"/>
            </a:lvl3pPr>
            <a:lvl4pPr marL="385763" indent="-128588">
              <a:buClr>
                <a:schemeClr val="accent3"/>
              </a:buClr>
              <a:defRPr sz="1100"/>
            </a:lvl4pPr>
            <a:lvl5pPr>
              <a:buClr>
                <a:schemeClr val="accent3"/>
              </a:buCl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7965167"/>
      </p:ext>
    </p:extLst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555297"/>
            <a:ext cx="2496312" cy="323165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555297"/>
            <a:ext cx="2496312" cy="323165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555297"/>
            <a:ext cx="2496312" cy="323165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1455695"/>
      </p:ext>
    </p:extLst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67596"/>
            <a:ext cx="406799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167596"/>
            <a:ext cx="4067991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2827541"/>
            <a:ext cx="4066772" cy="323165"/>
          </a:xfrm>
          <a:solidFill>
            <a:srgbClr val="0065A4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2827541"/>
            <a:ext cx="4066770" cy="323165"/>
          </a:xfrm>
          <a:solidFill>
            <a:srgbClr val="00B0F0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432076" y="3279073"/>
            <a:ext cx="4066772" cy="1277300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13"/>
          <p:cNvSpPr>
            <a:spLocks noGrp="1"/>
          </p:cNvSpPr>
          <p:nvPr>
            <p:ph sz="quarter" idx="19"/>
          </p:nvPr>
        </p:nvSpPr>
        <p:spPr>
          <a:xfrm>
            <a:off x="4645169" y="3279073"/>
            <a:ext cx="4066771" cy="1277300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6418965"/>
      </p:ext>
    </p:extLst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1" name="Content Placeholder 13"/>
          <p:cNvSpPr>
            <a:spLocks noGrp="1"/>
          </p:cNvSpPr>
          <p:nvPr>
            <p:ph sz="quarter" idx="18"/>
          </p:nvPr>
        </p:nvSpPr>
        <p:spPr>
          <a:xfrm>
            <a:off x="1228452" y="1304378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612783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3" name="Content Placeholder 13"/>
          <p:cNvSpPr>
            <a:spLocks noGrp="1"/>
          </p:cNvSpPr>
          <p:nvPr>
            <p:ph sz="quarter" idx="20"/>
          </p:nvPr>
        </p:nvSpPr>
        <p:spPr>
          <a:xfrm>
            <a:off x="3409680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4794025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5" name="Content Placeholder 13"/>
          <p:cNvSpPr>
            <a:spLocks noGrp="1"/>
          </p:cNvSpPr>
          <p:nvPr>
            <p:ph sz="quarter" idx="22"/>
          </p:nvPr>
        </p:nvSpPr>
        <p:spPr>
          <a:xfrm>
            <a:off x="5590946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75267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7" name="Content Placeholder 13"/>
          <p:cNvSpPr>
            <a:spLocks noGrp="1"/>
          </p:cNvSpPr>
          <p:nvPr>
            <p:ph sz="quarter" idx="24"/>
          </p:nvPr>
        </p:nvSpPr>
        <p:spPr>
          <a:xfrm>
            <a:off x="7772169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9" name="Content Placeholder 13"/>
          <p:cNvSpPr>
            <a:spLocks noGrp="1"/>
          </p:cNvSpPr>
          <p:nvPr>
            <p:ph sz="quarter" idx="26"/>
          </p:nvPr>
        </p:nvSpPr>
        <p:spPr>
          <a:xfrm>
            <a:off x="1228452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612783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1" name="Content Placeholder 13"/>
          <p:cNvSpPr>
            <a:spLocks noGrp="1"/>
          </p:cNvSpPr>
          <p:nvPr>
            <p:ph sz="quarter" idx="28"/>
          </p:nvPr>
        </p:nvSpPr>
        <p:spPr>
          <a:xfrm>
            <a:off x="3409680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94025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3" name="Content Placeholder 13"/>
          <p:cNvSpPr>
            <a:spLocks noGrp="1"/>
          </p:cNvSpPr>
          <p:nvPr>
            <p:ph sz="quarter" idx="30"/>
          </p:nvPr>
        </p:nvSpPr>
        <p:spPr>
          <a:xfrm>
            <a:off x="5590946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975267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5" name="Content Placeholder 13"/>
          <p:cNvSpPr>
            <a:spLocks noGrp="1"/>
          </p:cNvSpPr>
          <p:nvPr>
            <p:ph sz="quarter" idx="32"/>
          </p:nvPr>
        </p:nvSpPr>
        <p:spPr>
          <a:xfrm>
            <a:off x="7772169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7" name="Content Placeholder 13"/>
          <p:cNvSpPr>
            <a:spLocks noGrp="1"/>
          </p:cNvSpPr>
          <p:nvPr>
            <p:ph sz="quarter" idx="34"/>
          </p:nvPr>
        </p:nvSpPr>
        <p:spPr>
          <a:xfrm>
            <a:off x="1228452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2612783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9" name="Content Placeholder 13"/>
          <p:cNvSpPr>
            <a:spLocks noGrp="1"/>
          </p:cNvSpPr>
          <p:nvPr>
            <p:ph sz="quarter" idx="36"/>
          </p:nvPr>
        </p:nvSpPr>
        <p:spPr>
          <a:xfrm>
            <a:off x="3409680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794025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1" name="Content Placeholder 13"/>
          <p:cNvSpPr>
            <a:spLocks noGrp="1"/>
          </p:cNvSpPr>
          <p:nvPr>
            <p:ph sz="quarter" idx="38"/>
          </p:nvPr>
        </p:nvSpPr>
        <p:spPr>
          <a:xfrm>
            <a:off x="5590946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975267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3" name="Content Placeholder 13"/>
          <p:cNvSpPr>
            <a:spLocks noGrp="1"/>
          </p:cNvSpPr>
          <p:nvPr>
            <p:ph sz="quarter" idx="40"/>
          </p:nvPr>
        </p:nvSpPr>
        <p:spPr>
          <a:xfrm>
            <a:off x="7772169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41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1651288"/>
      </p:ext>
    </p:extLst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487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Content Placeholder 13"/>
          <p:cNvSpPr>
            <a:spLocks noGrp="1"/>
          </p:cNvSpPr>
          <p:nvPr>
            <p:ph sz="quarter" idx="18"/>
          </p:nvPr>
        </p:nvSpPr>
        <p:spPr>
          <a:xfrm>
            <a:off x="1228437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0487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5" name="Content Placeholder 13"/>
          <p:cNvSpPr>
            <a:spLocks noGrp="1"/>
          </p:cNvSpPr>
          <p:nvPr>
            <p:ph sz="quarter" idx="20"/>
          </p:nvPr>
        </p:nvSpPr>
        <p:spPr>
          <a:xfrm>
            <a:off x="4069975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0487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Content Placeholder 13"/>
          <p:cNvSpPr>
            <a:spLocks noGrp="1"/>
          </p:cNvSpPr>
          <p:nvPr>
            <p:ph sz="quarter" idx="22"/>
          </p:nvPr>
        </p:nvSpPr>
        <p:spPr>
          <a:xfrm>
            <a:off x="6911512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4018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9" name="Content Placeholder 13"/>
          <p:cNvSpPr>
            <a:spLocks noGrp="1"/>
          </p:cNvSpPr>
          <p:nvPr>
            <p:ph sz="quarter" idx="26"/>
          </p:nvPr>
        </p:nvSpPr>
        <p:spPr>
          <a:xfrm>
            <a:off x="1228437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44018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7" name="Content Placeholder 13"/>
          <p:cNvSpPr>
            <a:spLocks noGrp="1"/>
          </p:cNvSpPr>
          <p:nvPr>
            <p:ph sz="quarter" idx="28"/>
          </p:nvPr>
        </p:nvSpPr>
        <p:spPr>
          <a:xfrm>
            <a:off x="4069975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44018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0" name="Content Placeholder 13"/>
          <p:cNvSpPr>
            <a:spLocks noGrp="1"/>
          </p:cNvSpPr>
          <p:nvPr>
            <p:ph sz="quarter" idx="30"/>
          </p:nvPr>
        </p:nvSpPr>
        <p:spPr>
          <a:xfrm>
            <a:off x="6911512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7550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2" name="Content Placeholder 13"/>
          <p:cNvSpPr>
            <a:spLocks noGrp="1"/>
          </p:cNvSpPr>
          <p:nvPr>
            <p:ph sz="quarter" idx="34"/>
          </p:nvPr>
        </p:nvSpPr>
        <p:spPr>
          <a:xfrm>
            <a:off x="1228437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70244" y="357550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4" name="Content Placeholder 13"/>
          <p:cNvSpPr>
            <a:spLocks noGrp="1"/>
          </p:cNvSpPr>
          <p:nvPr>
            <p:ph sz="quarter" idx="36"/>
          </p:nvPr>
        </p:nvSpPr>
        <p:spPr>
          <a:xfrm>
            <a:off x="4069975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108947" y="3575506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6" name="Content Placeholder 13"/>
          <p:cNvSpPr>
            <a:spLocks noGrp="1"/>
          </p:cNvSpPr>
          <p:nvPr>
            <p:ph sz="quarter" idx="38"/>
          </p:nvPr>
        </p:nvSpPr>
        <p:spPr>
          <a:xfrm>
            <a:off x="6911512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9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9133382"/>
      </p:ext>
    </p:extLst>
  </p:cSld>
  <p:clrMapOvr>
    <a:masterClrMapping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228437" y="1302232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4069975" y="1302232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6911512" y="1302232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/>
          </p:nvPr>
        </p:nvSpPr>
        <p:spPr>
          <a:xfrm>
            <a:off x="1228437" y="2987323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9872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/>
          </p:nvPr>
        </p:nvSpPr>
        <p:spPr>
          <a:xfrm>
            <a:off x="4069975" y="2987323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98727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/>
          </p:nvPr>
        </p:nvSpPr>
        <p:spPr>
          <a:xfrm>
            <a:off x="6911512" y="2987323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1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5508745"/>
      </p:ext>
    </p:extLst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721538" y="1302232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709852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6002681" y="1302232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78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/>
          </p:nvPr>
        </p:nvSpPr>
        <p:spPr>
          <a:xfrm>
            <a:off x="1721538" y="2987323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709852" y="2987278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/>
          </p:nvPr>
        </p:nvSpPr>
        <p:spPr>
          <a:xfrm>
            <a:off x="6002681" y="2987323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9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293638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9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45679555"/>
      </p:ext>
    </p:extLst>
  </p:cSld>
  <p:clrMapOvr>
    <a:masterClrMapping/>
  </p:clrMapOvr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93773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5152" y="1193773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8"/>
          </p:nvPr>
        </p:nvSpPr>
        <p:spPr>
          <a:xfrm>
            <a:off x="430932" y="3674373"/>
            <a:ext cx="4067916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3674373"/>
            <a:ext cx="4065628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2000" y="2441762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45152" y="2441762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4913015"/>
      </p:ext>
    </p:extLst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79507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431557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918210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3270336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756913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6108972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0673132"/>
      </p:ext>
    </p:extLst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39452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2642365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4745243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/>
          </p:nvPr>
        </p:nvSpPr>
        <p:spPr>
          <a:xfrm>
            <a:off x="6848151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827584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030014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7131229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928799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61403136"/>
      </p:ext>
    </p:extLst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69521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b="1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1540" y="210017"/>
            <a:ext cx="828092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60407507"/>
      </p:ext>
    </p:extLst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b="1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7491660"/>
      </p:ext>
    </p:extLst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IN" b="1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17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8290054"/>
      </p:ext>
    </p:extLst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9750476"/>
      </p:ext>
    </p:extLst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9530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1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9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6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913586813"/>
      </p:ext>
    </p:extLst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84" y="789594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0237284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15817" y="2733785"/>
            <a:ext cx="5832648" cy="788287"/>
          </a:xfrm>
        </p:spPr>
        <p:txBody>
          <a:bodyPr/>
          <a:lstStyle>
            <a:lvl1pPr>
              <a:defRPr>
                <a:solidFill>
                  <a:srgbClr val="CBEC78"/>
                </a:solidFill>
              </a:defRPr>
            </a:lvl1pPr>
          </a:lstStyle>
          <a:p>
            <a:r>
              <a:rPr lang="en-IN" dirty="0"/>
              <a:t>Your Sub headline will g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816" y="1599782"/>
            <a:ext cx="5832648" cy="1134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</a:t>
            </a:r>
          </a:p>
          <a:p>
            <a:pPr lvl="0"/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1480746"/>
      </p:ext>
    </p:extLst>
  </p:cSld>
  <p:clrMapOvr>
    <a:masterClrMapping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88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137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60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979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639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299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3960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61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27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260250627"/>
      </p:ext>
    </p:extLst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789565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65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019256393"/>
      </p:ext>
    </p:extLst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60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6601" indent="0">
              <a:buNone/>
              <a:defRPr sz="2000" b="1"/>
            </a:lvl2pPr>
            <a:lvl3pPr marL="913200" indent="0">
              <a:buNone/>
              <a:defRPr sz="1800" b="1"/>
            </a:lvl3pPr>
            <a:lvl4pPr marL="1369798" indent="0">
              <a:buNone/>
              <a:defRPr sz="1600" b="1"/>
            </a:lvl4pPr>
            <a:lvl5pPr marL="1826397" indent="0">
              <a:buNone/>
              <a:defRPr sz="1600" b="1"/>
            </a:lvl5pPr>
            <a:lvl6pPr marL="2282998" indent="0">
              <a:buNone/>
              <a:defRPr sz="1600" b="1"/>
            </a:lvl6pPr>
            <a:lvl7pPr marL="2739602" indent="0">
              <a:buNone/>
              <a:defRPr sz="1600" b="1"/>
            </a:lvl7pPr>
            <a:lvl8pPr marL="3196199" indent="0">
              <a:buNone/>
              <a:defRPr sz="1600" b="1"/>
            </a:lvl8pPr>
            <a:lvl9pPr marL="365279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92" y="802660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6601" indent="0">
              <a:buNone/>
              <a:defRPr sz="2000" b="1"/>
            </a:lvl2pPr>
            <a:lvl3pPr marL="913200" indent="0">
              <a:buNone/>
              <a:defRPr sz="1800" b="1"/>
            </a:lvl3pPr>
            <a:lvl4pPr marL="1369798" indent="0">
              <a:buNone/>
              <a:defRPr sz="1600" b="1"/>
            </a:lvl4pPr>
            <a:lvl5pPr marL="1826397" indent="0">
              <a:buNone/>
              <a:defRPr sz="1600" b="1"/>
            </a:lvl5pPr>
            <a:lvl6pPr marL="2282998" indent="0">
              <a:buNone/>
              <a:defRPr sz="1600" b="1"/>
            </a:lvl6pPr>
            <a:lvl7pPr marL="2739602" indent="0">
              <a:buNone/>
              <a:defRPr sz="1600" b="1"/>
            </a:lvl7pPr>
            <a:lvl8pPr marL="3196199" indent="0">
              <a:buNone/>
              <a:defRPr sz="1600" b="1"/>
            </a:lvl8pPr>
            <a:lvl9pPr marL="365279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92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622425447"/>
      </p:ext>
    </p:extLst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122964163"/>
      </p:ext>
    </p:extLst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402658052"/>
      </p:ext>
    </p:extLst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9" y="3600454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9" y="459582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6601" indent="0">
              <a:buNone/>
              <a:defRPr sz="2800"/>
            </a:lvl2pPr>
            <a:lvl3pPr marL="913200" indent="0">
              <a:buNone/>
              <a:defRPr sz="2400"/>
            </a:lvl3pPr>
            <a:lvl4pPr marL="1369798" indent="0">
              <a:buNone/>
              <a:defRPr sz="2000"/>
            </a:lvl4pPr>
            <a:lvl5pPr marL="1826397" indent="0">
              <a:buNone/>
              <a:defRPr sz="2000"/>
            </a:lvl5pPr>
            <a:lvl6pPr marL="2282998" indent="0">
              <a:buNone/>
              <a:defRPr sz="2000"/>
            </a:lvl6pPr>
            <a:lvl7pPr marL="2739602" indent="0">
              <a:buNone/>
              <a:defRPr sz="2000"/>
            </a:lvl7pPr>
            <a:lvl8pPr marL="3196199" indent="0">
              <a:buNone/>
              <a:defRPr sz="2000"/>
            </a:lvl8pPr>
            <a:lvl9pPr marL="3652799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9" y="4027160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6601" indent="0">
              <a:buNone/>
              <a:defRPr sz="1200"/>
            </a:lvl2pPr>
            <a:lvl3pPr marL="913200" indent="0">
              <a:buNone/>
              <a:defRPr sz="1000"/>
            </a:lvl3pPr>
            <a:lvl4pPr marL="1369798" indent="0">
              <a:buNone/>
              <a:defRPr sz="900"/>
            </a:lvl4pPr>
            <a:lvl5pPr marL="1826397" indent="0">
              <a:buNone/>
              <a:defRPr sz="900"/>
            </a:lvl5pPr>
            <a:lvl6pPr marL="2282998" indent="0">
              <a:buNone/>
              <a:defRPr sz="900"/>
            </a:lvl6pPr>
            <a:lvl7pPr marL="2739602" indent="0">
              <a:buNone/>
              <a:defRPr sz="900"/>
            </a:lvl7pPr>
            <a:lvl8pPr marL="3196199" indent="0">
              <a:buNone/>
              <a:defRPr sz="900"/>
            </a:lvl8pPr>
            <a:lvl9pPr marL="365279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737821801"/>
      </p:ext>
    </p:extLst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35696" y="1491631"/>
            <a:ext cx="6851104" cy="1537878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835696" y="3036355"/>
            <a:ext cx="6851104" cy="56151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143269875"/>
      </p:ext>
    </p:extLst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901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055723527"/>
      </p:ext>
    </p:extLst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789579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35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4423852"/>
      </p:ext>
    </p:extLst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6"/>
            <a:ext cx="7772400" cy="1125141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68409833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968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857664436"/>
      </p:ext>
    </p:extLst>
  </p:cSld>
  <p:clrMapOvr>
    <a:masterClrMapping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3"/>
            <a:ext cx="4038600" cy="3394472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3"/>
            <a:ext cx="4038600" cy="3394472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021403560"/>
      </p:ext>
    </p:extLst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51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15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2"/>
            <a:ext cx="4040188" cy="2963466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802651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15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282472"/>
            <a:ext cx="4041775" cy="2963466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244009241"/>
      </p:ext>
    </p:extLst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779688127"/>
      </p:ext>
    </p:extLst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581837994"/>
      </p:ext>
    </p:extLst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1500" b="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85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33228580"/>
      </p:ext>
    </p:extLst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bg>
      <p:bgPr>
        <a:gradFill>
          <a:gsLst>
            <a:gs pos="0">
              <a:schemeClr val="accent1"/>
            </a:gs>
            <a:gs pos="100000">
              <a:schemeClr val="accent5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8"/>
            <a:ext cx="9144000" cy="5143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IN" b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6981710"/>
      </p:ext>
    </p:extLst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56494323"/>
      </p:ext>
    </p:extLst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22094509"/>
      </p:ext>
    </p:extLst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1189312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274186"/>
      </p:ext>
    </p:extLst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31540" y="1189312"/>
            <a:ext cx="4068452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/>
          </p:nvPr>
        </p:nvSpPr>
        <p:spPr>
          <a:xfrm>
            <a:off x="4644008" y="1189312"/>
            <a:ext cx="4068452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7976357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789594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72886086"/>
      </p:ext>
    </p:extLst>
  </p:cSld>
  <p:clrMapOvr>
    <a:masterClrMapping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4931729"/>
      </p:ext>
    </p:extLst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6701220"/>
      </p:ext>
    </p:extLst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7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362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267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72200" y="1200150"/>
            <a:ext cx="1828800" cy="1828800"/>
          </a:xfrm>
        </p:spPr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34094455"/>
      </p:ext>
    </p:extLst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1515846"/>
      </p:ext>
    </p:extLst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286762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73524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0286" y="0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286762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573524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860286" y="2564892"/>
            <a:ext cx="2297430" cy="257860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43361856"/>
      </p:ext>
    </p:extLst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828229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656457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484686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312914" y="0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828229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656457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484686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312914" y="1711071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828229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3656457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484686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312914" y="3422142"/>
            <a:ext cx="1831086" cy="1721358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74250158"/>
      </p:ext>
    </p:extLst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521562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043124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564685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607808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086247" y="0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521562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3043124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564685" y="1282446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1521562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3043124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564685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7607808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086247" y="2564892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1521562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043124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4564685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607808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6086247" y="3847338"/>
            <a:ext cx="1536192" cy="1296162"/>
          </a:xfrm>
        </p:spPr>
        <p:txBody>
          <a:bodyPr lIns="137160" tIns="68580" rIns="137160" bIns="68580"/>
          <a:lstStyle>
            <a:lvl1pPr marL="0" indent="0">
              <a:buFontTx/>
              <a:buNone/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65365454"/>
      </p:ext>
    </p:extLst>
  </p:cSld>
  <p:clrMapOvr>
    <a:masterClrMapping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122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044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79660" y="1047751"/>
            <a:ext cx="1828800" cy="15240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8122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73932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79660" y="2643759"/>
            <a:ext cx="18288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8372921"/>
      </p:ext>
    </p:extLst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915568"/>
            <a:ext cx="2496312" cy="201622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003798"/>
            <a:ext cx="24948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1901394"/>
      </p:ext>
    </p:extLst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03641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203641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6784" y="1203641"/>
            <a:ext cx="2496312" cy="17281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003798"/>
            <a:ext cx="2494800" cy="165618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066645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134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290830224"/>
      </p:ext>
    </p:extLst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15566"/>
            <a:ext cx="4067992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915566"/>
            <a:ext cx="4067991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44008" y="2643759"/>
            <a:ext cx="40680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2643759"/>
            <a:ext cx="4068000" cy="201622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6439116"/>
      </p:ext>
    </p:extLst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03598"/>
            <a:ext cx="4067992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203598"/>
            <a:ext cx="4067991" cy="163201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/>
          <a:lstStyle>
            <a:lvl1pPr marL="0" indent="0" algn="ctr">
              <a:buNone/>
              <a:defRPr lang="en-US" sz="11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44008" y="2931790"/>
            <a:ext cx="40680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2931790"/>
            <a:ext cx="4068000" cy="172819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8767120"/>
      </p:ext>
    </p:extLst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56083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80166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04248" y="933324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32000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556083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80166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804248" y="2178327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56083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80166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04248" y="3363838"/>
            <a:ext cx="1908000" cy="129614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4963644"/>
      </p:ext>
    </p:extLst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56083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80166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04248" y="1218858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32000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556083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80166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804248" y="2463861"/>
            <a:ext cx="1908000" cy="11071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556083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80166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804248" y="3651870"/>
            <a:ext cx="1908000" cy="1008112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247528"/>
      </p:ext>
    </p:extLst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175307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431540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323844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215688" y="2423296"/>
            <a:ext cx="2496312" cy="11041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323844" y="3579862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32000" y="3579862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218296" y="3579862"/>
            <a:ext cx="2494800" cy="108012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5622790"/>
      </p:ext>
    </p:extLst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10866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2099969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377373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3767938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9"/>
          </p:nvPr>
        </p:nvSpPr>
        <p:spPr>
          <a:xfrm>
            <a:off x="543880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50"/>
          </p:nvPr>
        </p:nvSpPr>
        <p:spPr>
          <a:xfrm>
            <a:off x="5435907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51"/>
          </p:nvPr>
        </p:nvSpPr>
        <p:spPr>
          <a:xfrm>
            <a:off x="7103878" y="915567"/>
            <a:ext cx="1584000" cy="135138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52"/>
          </p:nvPr>
        </p:nvSpPr>
        <p:spPr>
          <a:xfrm>
            <a:off x="7103878" y="2343150"/>
            <a:ext cx="1584000" cy="2388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9197134"/>
      </p:ext>
    </p:extLst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10866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2099969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377373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3767938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9"/>
          </p:nvPr>
        </p:nvSpPr>
        <p:spPr>
          <a:xfrm>
            <a:off x="543880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50"/>
          </p:nvPr>
        </p:nvSpPr>
        <p:spPr>
          <a:xfrm>
            <a:off x="5435907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51"/>
          </p:nvPr>
        </p:nvSpPr>
        <p:spPr>
          <a:xfrm>
            <a:off x="7103878" y="1172368"/>
            <a:ext cx="1584000" cy="22375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52"/>
          </p:nvPr>
        </p:nvSpPr>
        <p:spPr>
          <a:xfrm>
            <a:off x="7103878" y="3486150"/>
            <a:ext cx="1584000" cy="1245840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901932"/>
      </p:ext>
    </p:extLst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61992" y="1200150"/>
            <a:ext cx="4104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4644713" y="1200150"/>
            <a:ext cx="4104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4635309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6821714"/>
      </p:ext>
    </p:extLst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442945" y="3292475"/>
            <a:ext cx="4105275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643464" y="3292475"/>
            <a:ext cx="4105275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6"/>
            <a:ext cx="4104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4644008" y="915566"/>
            <a:ext cx="4104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4635309" y="3795886"/>
            <a:ext cx="4104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7414097"/>
      </p:ext>
    </p:extLst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42920" y="3292475"/>
            <a:ext cx="2700337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228975" y="3292475"/>
            <a:ext cx="2700338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13450" y="3292475"/>
            <a:ext cx="2700338" cy="431800"/>
          </a:xfrm>
          <a:prstGeom prst="rect">
            <a:avLst/>
          </a:prstGeom>
          <a:solidFill>
            <a:srgbClr val="1D6E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3228919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322022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6014239" y="1203600"/>
            <a:ext cx="2700000" cy="2520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6008439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249425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498855561"/>
      </p:ext>
    </p:extLst>
  </p:cSld>
  <p:clrMapOvr>
    <a:masterClrMapping/>
  </p:clrMapOvr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42920" y="3292475"/>
            <a:ext cx="2700337" cy="431800"/>
          </a:xfrm>
          <a:prstGeom prst="rect">
            <a:avLst/>
          </a:prstGeom>
          <a:solidFill>
            <a:srgbClr val="4DB3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228975" y="3292475"/>
            <a:ext cx="2700338" cy="431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013450" y="3292475"/>
            <a:ext cx="2700338" cy="431800"/>
          </a:xfrm>
          <a:prstGeom prst="rect">
            <a:avLst/>
          </a:prstGeom>
          <a:solidFill>
            <a:srgbClr val="1D6E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b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43598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3200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3228919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46"/>
          </p:nvPr>
        </p:nvSpPr>
        <p:spPr>
          <a:xfrm>
            <a:off x="3220220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6014239" y="915566"/>
            <a:ext cx="2700000" cy="28083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>
              <a:defRPr lang="en-US" sz="1100" dirty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48"/>
          </p:nvPr>
        </p:nvSpPr>
        <p:spPr>
          <a:xfrm>
            <a:off x="6008439" y="3795886"/>
            <a:ext cx="2700000" cy="936104"/>
          </a:xfrm>
        </p:spPr>
        <p:txBody>
          <a:bodyPr>
            <a:noAutofit/>
          </a:bodyPr>
          <a:lstStyle>
            <a:lvl1pPr marL="72000" indent="-144000">
              <a:spcBef>
                <a:spcPts val="40"/>
              </a:spcBef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 marL="114297" indent="-114297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28594" indent="-114297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400040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 marL="571486" indent="-171446"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8458543"/>
      </p:ext>
    </p:extLst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047750"/>
            <a:ext cx="4067992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047750"/>
            <a:ext cx="4067991" cy="319958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3924231"/>
            <a:ext cx="4066772" cy="323165"/>
          </a:xfrm>
          <a:solidFill>
            <a:srgbClr val="0065A4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69" y="3924231"/>
            <a:ext cx="4066771" cy="323165"/>
          </a:xfrm>
          <a:solidFill>
            <a:srgbClr val="8DB74A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0652208"/>
      </p:ext>
    </p:extLst>
  </p:cSld>
  <p:clrMapOvr>
    <a:masterClrMapping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824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7328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83200" y="1155323"/>
            <a:ext cx="1828800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32000" y="2630576"/>
            <a:ext cx="1831086" cy="507831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582400" y="2630576"/>
            <a:ext cx="1831086" cy="507831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730514" y="2630576"/>
            <a:ext cx="1831086" cy="507831"/>
          </a:xfrm>
          <a:solidFill>
            <a:srgbClr val="46B3C7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880914" y="2630576"/>
            <a:ext cx="1831086" cy="507831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432000" y="326684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24"/>
          </p:nvPr>
        </p:nvSpPr>
        <p:spPr>
          <a:xfrm>
            <a:off x="2582400" y="326684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3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5"/>
          </p:nvPr>
        </p:nvSpPr>
        <p:spPr>
          <a:xfrm>
            <a:off x="4730514" y="326684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6"/>
          </p:nvPr>
        </p:nvSpPr>
        <p:spPr>
          <a:xfrm>
            <a:off x="6880914" y="3266845"/>
            <a:ext cx="1831086" cy="1285169"/>
          </a:xfrm>
        </p:spPr>
        <p:txBody>
          <a:bodyPr>
            <a:normAutofit/>
          </a:bodyPr>
          <a:lstStyle>
            <a:lvl1pPr marL="171450" indent="-171450">
              <a:buClrTx/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bg2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4297993"/>
      </p:ext>
    </p:extLst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1163477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823423"/>
            <a:ext cx="2496312" cy="323165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823423"/>
            <a:ext cx="2496312" cy="323165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823423"/>
            <a:ext cx="2496312" cy="323165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13"/>
          <p:cNvSpPr>
            <a:spLocks noGrp="1"/>
          </p:cNvSpPr>
          <p:nvPr>
            <p:ph sz="quarter" idx="18"/>
          </p:nvPr>
        </p:nvSpPr>
        <p:spPr>
          <a:xfrm>
            <a:off x="435540" y="3274955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Font typeface="Arial" panose="020B0604020202020204" pitchFamily="34" charset="0"/>
              <a:buChar char="•"/>
              <a:defRPr sz="1100"/>
            </a:lvl2pPr>
            <a:lvl3pPr marL="257175" indent="-128588">
              <a:defRPr sz="1100"/>
            </a:lvl3pPr>
            <a:lvl4pPr marL="385763" indent="-128588"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274955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/>
            </a:lvl2pPr>
            <a:lvl3pPr marL="257175" indent="-128588">
              <a:buClr>
                <a:schemeClr val="accent4"/>
              </a:buClr>
              <a:defRPr sz="1100"/>
            </a:lvl3pPr>
            <a:lvl4pPr marL="385763" indent="-128588">
              <a:buClr>
                <a:schemeClr val="accent4"/>
              </a:buClr>
              <a:defRPr sz="1100"/>
            </a:lvl4pPr>
            <a:lvl5pPr>
              <a:buClr>
                <a:schemeClr val="accent4"/>
              </a:buCl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0"/>
          </p:nvPr>
        </p:nvSpPr>
        <p:spPr>
          <a:xfrm>
            <a:off x="6215688" y="3274955"/>
            <a:ext cx="2496312" cy="1313019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/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1100"/>
            </a:lvl2pPr>
            <a:lvl3pPr marL="257175" indent="-128588">
              <a:buClr>
                <a:schemeClr val="accent3"/>
              </a:buClr>
              <a:defRPr sz="1100"/>
            </a:lvl3pPr>
            <a:lvl4pPr marL="385763" indent="-128588">
              <a:buClr>
                <a:schemeClr val="accent3"/>
              </a:buClr>
              <a:defRPr sz="1100"/>
            </a:lvl4pPr>
            <a:lvl5pPr>
              <a:buClr>
                <a:schemeClr val="accent3"/>
              </a:buCl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1074207"/>
      </p:ext>
    </p:extLst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5540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5688" y="895352"/>
            <a:ext cx="249631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5540" y="2555294"/>
            <a:ext cx="2496312" cy="323165"/>
          </a:xfrm>
          <a:solidFill>
            <a:srgbClr val="0065A4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2555294"/>
            <a:ext cx="2496312" cy="323165"/>
          </a:xfrm>
          <a:solidFill>
            <a:srgbClr val="00B0F0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6215688" y="2555294"/>
            <a:ext cx="2496312" cy="323165"/>
          </a:xfrm>
          <a:solidFill>
            <a:srgbClr val="8DB74A">
              <a:alpha val="80000"/>
            </a:srgbClr>
          </a:solidFill>
        </p:spPr>
        <p:txBody>
          <a:bodyPr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rgbClr val="FFFFFF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4343181"/>
      </p:ext>
    </p:extLst>
  </p:cSld>
  <p:clrMapOvr>
    <a:masterClrMapping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67596"/>
            <a:ext cx="4067992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21" y="1167596"/>
            <a:ext cx="4067991" cy="198305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2076" y="2827538"/>
            <a:ext cx="4066772" cy="323165"/>
          </a:xfrm>
          <a:solidFill>
            <a:srgbClr val="0065A4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2827538"/>
            <a:ext cx="4066770" cy="323165"/>
          </a:xfrm>
          <a:solidFill>
            <a:srgbClr val="00B0F0">
              <a:alpha val="80000"/>
            </a:srgbClr>
          </a:solidFill>
        </p:spPr>
        <p:txBody>
          <a:bodyPr wrap="square" lIns="137160" tIns="68580" rIns="137160" bIns="68580" anchor="b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257175" indent="-128588">
              <a:defRPr sz="1100">
                <a:solidFill>
                  <a:srgbClr val="FFFFFF"/>
                </a:solidFill>
              </a:defRPr>
            </a:lvl3pPr>
            <a:lvl4pPr marL="385763" indent="-128588">
              <a:defRPr sz="1100">
                <a:solidFill>
                  <a:srgbClr val="FFFFFF"/>
                </a:solidFill>
              </a:defRPr>
            </a:lvl4pPr>
            <a:lvl5pPr marL="557213" indent="-171450">
              <a:defRPr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432076" y="3279073"/>
            <a:ext cx="4066772" cy="1277300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13"/>
          <p:cNvSpPr>
            <a:spLocks noGrp="1"/>
          </p:cNvSpPr>
          <p:nvPr>
            <p:ph sz="quarter" idx="19"/>
          </p:nvPr>
        </p:nvSpPr>
        <p:spPr>
          <a:xfrm>
            <a:off x="4645169" y="3279073"/>
            <a:ext cx="4066771" cy="1277300"/>
          </a:xfrm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Clr>
                <a:schemeClr val="accent4"/>
              </a:buClr>
              <a:buFont typeface="Arial" panose="020B0604020202020204" pitchFamily="34" charset="0"/>
              <a:buChar char="•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buClr>
                <a:schemeClr val="accent4"/>
              </a:buCl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213591"/>
      </p:ext>
    </p:extLst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1" name="Content Placeholder 13"/>
          <p:cNvSpPr>
            <a:spLocks noGrp="1"/>
          </p:cNvSpPr>
          <p:nvPr>
            <p:ph sz="quarter" idx="18"/>
          </p:nvPr>
        </p:nvSpPr>
        <p:spPr>
          <a:xfrm>
            <a:off x="1228452" y="1304378"/>
            <a:ext cx="1034421" cy="73380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612783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3" name="Content Placeholder 13"/>
          <p:cNvSpPr>
            <a:spLocks noGrp="1"/>
          </p:cNvSpPr>
          <p:nvPr>
            <p:ph sz="quarter" idx="20"/>
          </p:nvPr>
        </p:nvSpPr>
        <p:spPr>
          <a:xfrm>
            <a:off x="3409680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4794025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5" name="Content Placeholder 13"/>
          <p:cNvSpPr>
            <a:spLocks noGrp="1"/>
          </p:cNvSpPr>
          <p:nvPr>
            <p:ph sz="quarter" idx="22"/>
          </p:nvPr>
        </p:nvSpPr>
        <p:spPr>
          <a:xfrm>
            <a:off x="5590946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75267" y="13043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7" name="Content Placeholder 13"/>
          <p:cNvSpPr>
            <a:spLocks noGrp="1"/>
          </p:cNvSpPr>
          <p:nvPr>
            <p:ph sz="quarter" idx="24"/>
          </p:nvPr>
        </p:nvSpPr>
        <p:spPr>
          <a:xfrm>
            <a:off x="7772169" y="1304378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9" name="Content Placeholder 13"/>
          <p:cNvSpPr>
            <a:spLocks noGrp="1"/>
          </p:cNvSpPr>
          <p:nvPr>
            <p:ph sz="quarter" idx="26"/>
          </p:nvPr>
        </p:nvSpPr>
        <p:spPr>
          <a:xfrm>
            <a:off x="1228452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612783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1" name="Content Placeholder 13"/>
          <p:cNvSpPr>
            <a:spLocks noGrp="1"/>
          </p:cNvSpPr>
          <p:nvPr>
            <p:ph sz="quarter" idx="28"/>
          </p:nvPr>
        </p:nvSpPr>
        <p:spPr>
          <a:xfrm>
            <a:off x="3409680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94025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3" name="Content Placeholder 13"/>
          <p:cNvSpPr>
            <a:spLocks noGrp="1"/>
          </p:cNvSpPr>
          <p:nvPr>
            <p:ph sz="quarter" idx="30"/>
          </p:nvPr>
        </p:nvSpPr>
        <p:spPr>
          <a:xfrm>
            <a:off x="5590946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975267" y="243969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5" name="Content Placeholder 13"/>
          <p:cNvSpPr>
            <a:spLocks noGrp="1"/>
          </p:cNvSpPr>
          <p:nvPr>
            <p:ph sz="quarter" idx="32"/>
          </p:nvPr>
        </p:nvSpPr>
        <p:spPr>
          <a:xfrm>
            <a:off x="7772169" y="2439696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7" name="Content Placeholder 13"/>
          <p:cNvSpPr>
            <a:spLocks noGrp="1"/>
          </p:cNvSpPr>
          <p:nvPr>
            <p:ph sz="quarter" idx="34"/>
          </p:nvPr>
        </p:nvSpPr>
        <p:spPr>
          <a:xfrm>
            <a:off x="1228452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2612783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9" name="Content Placeholder 13"/>
          <p:cNvSpPr>
            <a:spLocks noGrp="1"/>
          </p:cNvSpPr>
          <p:nvPr>
            <p:ph sz="quarter" idx="36"/>
          </p:nvPr>
        </p:nvSpPr>
        <p:spPr>
          <a:xfrm>
            <a:off x="3409680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794025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1" name="Content Placeholder 13"/>
          <p:cNvSpPr>
            <a:spLocks noGrp="1"/>
          </p:cNvSpPr>
          <p:nvPr>
            <p:ph sz="quarter" idx="38"/>
          </p:nvPr>
        </p:nvSpPr>
        <p:spPr>
          <a:xfrm>
            <a:off x="5590946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975267" y="3575015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3" name="Content Placeholder 13"/>
          <p:cNvSpPr>
            <a:spLocks noGrp="1"/>
          </p:cNvSpPr>
          <p:nvPr>
            <p:ph sz="quarter" idx="40"/>
          </p:nvPr>
        </p:nvSpPr>
        <p:spPr>
          <a:xfrm>
            <a:off x="7772169" y="3575014"/>
            <a:ext cx="1034421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41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2537712"/>
      </p:ext>
    </p:extLst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487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3" name="Content Placeholder 13"/>
          <p:cNvSpPr>
            <a:spLocks noGrp="1"/>
          </p:cNvSpPr>
          <p:nvPr>
            <p:ph sz="quarter" idx="18"/>
          </p:nvPr>
        </p:nvSpPr>
        <p:spPr>
          <a:xfrm>
            <a:off x="1228437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0487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5" name="Content Placeholder 13"/>
          <p:cNvSpPr>
            <a:spLocks noGrp="1"/>
          </p:cNvSpPr>
          <p:nvPr>
            <p:ph sz="quarter" idx="20"/>
          </p:nvPr>
        </p:nvSpPr>
        <p:spPr>
          <a:xfrm>
            <a:off x="4069975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04870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22"/>
          </p:nvPr>
        </p:nvSpPr>
        <p:spPr>
          <a:xfrm>
            <a:off x="6911512" y="1304870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44018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9" name="Content Placeholder 13"/>
          <p:cNvSpPr>
            <a:spLocks noGrp="1"/>
          </p:cNvSpPr>
          <p:nvPr>
            <p:ph sz="quarter" idx="26"/>
          </p:nvPr>
        </p:nvSpPr>
        <p:spPr>
          <a:xfrm>
            <a:off x="1228437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440189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7" name="Content Placeholder 13"/>
          <p:cNvSpPr>
            <a:spLocks noGrp="1"/>
          </p:cNvSpPr>
          <p:nvPr>
            <p:ph sz="quarter" idx="28"/>
          </p:nvPr>
        </p:nvSpPr>
        <p:spPr>
          <a:xfrm>
            <a:off x="4069975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44018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0" name="Content Placeholder 13"/>
          <p:cNvSpPr>
            <a:spLocks noGrp="1"/>
          </p:cNvSpPr>
          <p:nvPr>
            <p:ph sz="quarter" idx="30"/>
          </p:nvPr>
        </p:nvSpPr>
        <p:spPr>
          <a:xfrm>
            <a:off x="6911512" y="2440188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357550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2" name="Content Placeholder 13"/>
          <p:cNvSpPr>
            <a:spLocks noGrp="1"/>
          </p:cNvSpPr>
          <p:nvPr>
            <p:ph sz="quarter" idx="34"/>
          </p:nvPr>
        </p:nvSpPr>
        <p:spPr>
          <a:xfrm>
            <a:off x="1228437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70244" y="357550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4" name="Content Placeholder 13"/>
          <p:cNvSpPr>
            <a:spLocks noGrp="1"/>
          </p:cNvSpPr>
          <p:nvPr>
            <p:ph sz="quarter" idx="36"/>
          </p:nvPr>
        </p:nvSpPr>
        <p:spPr>
          <a:xfrm>
            <a:off x="4069975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108947" y="3575506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6" name="Content Placeholder 13"/>
          <p:cNvSpPr>
            <a:spLocks noGrp="1"/>
          </p:cNvSpPr>
          <p:nvPr>
            <p:ph sz="quarter" idx="38"/>
          </p:nvPr>
        </p:nvSpPr>
        <p:spPr>
          <a:xfrm>
            <a:off x="6911512" y="3575506"/>
            <a:ext cx="1735806" cy="733806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0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9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0799623"/>
      </p:ext>
    </p:extLst>
  </p:cSld>
  <p:clrMapOvr>
    <a:masterClrMapping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228437" y="1302230"/>
            <a:ext cx="1735806" cy="145668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4069975" y="1302230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7" y="130218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6911512" y="1302230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/>
          </p:nvPr>
        </p:nvSpPr>
        <p:spPr>
          <a:xfrm>
            <a:off x="1228437" y="2987321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2987278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/>
          </p:nvPr>
        </p:nvSpPr>
        <p:spPr>
          <a:xfrm>
            <a:off x="4069975" y="2987321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7" y="2987277"/>
            <a:ext cx="6858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/>
          </p:nvPr>
        </p:nvSpPr>
        <p:spPr>
          <a:xfrm>
            <a:off x="6911512" y="2987321"/>
            <a:ext cx="1735806" cy="1456681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1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8955120"/>
      </p:ext>
    </p:extLst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721538" y="1302230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709852" y="1302187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6002681" y="1302230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2987278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/>
          </p:nvPr>
        </p:nvSpPr>
        <p:spPr>
          <a:xfrm>
            <a:off x="1721538" y="2987321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709852" y="2987278"/>
            <a:ext cx="1150616" cy="11506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/>
          </p:nvPr>
        </p:nvSpPr>
        <p:spPr>
          <a:xfrm>
            <a:off x="6002681" y="2987321"/>
            <a:ext cx="2669009" cy="1456681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9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106116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60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802660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238824935"/>
      </p:ext>
    </p:extLst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2000" y="1193773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5152" y="1193773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8"/>
          </p:nvPr>
        </p:nvSpPr>
        <p:spPr>
          <a:xfrm>
            <a:off x="430932" y="3674371"/>
            <a:ext cx="4067916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3674371"/>
            <a:ext cx="4065628" cy="1004405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  <a:lvl2pPr marL="128588" indent="-128588">
              <a:buFont typeface="Wingdings" panose="05000000000000000000" pitchFamily="2" charset="2"/>
              <a:buChar char="§"/>
              <a:defRPr sz="1100">
                <a:solidFill>
                  <a:schemeClr val="tx1">
                    <a:lumMod val="75000"/>
                  </a:schemeClr>
                </a:solidFill>
              </a:defRPr>
            </a:lvl2pPr>
            <a:lvl3pPr marL="257175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3pPr>
            <a:lvl4pPr marL="385763" indent="-128588">
              <a:defRPr sz="11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2000" y="2441762"/>
            <a:ext cx="4069136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45152" y="2441762"/>
            <a:ext cx="4066848" cy="110413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764671"/>
      </p:ext>
    </p:extLst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79507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431557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918210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3270332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756913" y="1190965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11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6108972" y="2497528"/>
            <a:ext cx="2532703" cy="1802414"/>
          </a:xfrm>
        </p:spPr>
        <p:txBody>
          <a:bodyPr>
            <a:norm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1780093"/>
      </p:ext>
    </p:extLst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39452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/>
          </p:nvPr>
        </p:nvSpPr>
        <p:spPr>
          <a:xfrm>
            <a:off x="2642365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/>
          </p:nvPr>
        </p:nvSpPr>
        <p:spPr>
          <a:xfrm>
            <a:off x="4745243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/>
          </p:nvPr>
        </p:nvSpPr>
        <p:spPr>
          <a:xfrm>
            <a:off x="6848151" y="2569537"/>
            <a:ext cx="1802967" cy="1802414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buNone/>
              <a:defRPr lang="en-US" sz="1100" kern="800" spc="-10" dirty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827584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030014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7131229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2928799" y="1245217"/>
            <a:ext cx="1236770" cy="123677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/>
        </p:spPr>
        <p:txBody>
          <a:bodyPr anchor="ctr" anchorCtr="0"/>
          <a:lstStyle>
            <a:lvl1pPr marL="0" indent="0" algn="ctr">
              <a:buNone/>
              <a:defRPr sz="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29322750"/>
      </p:ext>
    </p:extLst>
  </p:cSld>
  <p:clrMapOvr>
    <a:masterClrMapping/>
  </p:clrMapOvr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66697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1540" y="210015"/>
            <a:ext cx="828092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1773801"/>
      </p:ext>
    </p:extLst>
  </p:cSld>
  <p:clrMapOvr>
    <a:masterClrMapping/>
  </p:clrMapOvr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9949176"/>
      </p:ext>
    </p:extLst>
  </p:cSld>
  <p:clrMapOvr>
    <a:masterClrMapping/>
  </p:clrMapOvr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32000" y="210015"/>
            <a:ext cx="8280000" cy="6131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44"/>
          </p:nvPr>
        </p:nvSpPr>
        <p:spPr>
          <a:xfrm>
            <a:off x="431540" y="843558"/>
            <a:ext cx="8280920" cy="304800"/>
          </a:xfrm>
        </p:spPr>
        <p:txBody>
          <a:bodyPr/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400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08009"/>
      </p:ext>
    </p:extLst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2326109"/>
      </p:ext>
    </p:extLst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769B1B6-1B71-41A2-A70F-424E18921746}" type="slidenum">
              <a:rPr lang="en-IN" smtClean="0">
                <a:solidFill>
                  <a:prstClr val="white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IN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789579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35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83873872"/>
      </p:ext>
    </p:extLst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88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4894995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441544336"/>
      </p:ext>
    </p:extLst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>
              <a:solidFill>
                <a:prstClr val="white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68325" y="789579"/>
            <a:ext cx="8207375" cy="35647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66007709"/>
      </p:ext>
    </p:extLst>
  </p:cSld>
  <p:clrMapOvr>
    <a:masterClrMapping/>
  </p:clrMapOvr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>
            <a:normAutofit/>
          </a:bodyPr>
          <a:lstStyle>
            <a:lvl1pPr algn="l">
              <a:defRPr lang="en-IN" dirty="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8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221499324"/>
      </p:ext>
    </p:extLst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789553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882661811"/>
      </p:ext>
    </p:extLst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02648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282470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802648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282470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753295861"/>
      </p:ext>
    </p:extLst>
  </p:cSld>
  <p:clrMapOvr>
    <a:masterClrMapping/>
  </p:clrMapOvr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679889813"/>
      </p:ext>
    </p:extLst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152164099"/>
      </p:ext>
    </p:extLst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72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602248031"/>
      </p:ext>
    </p:extLst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2285720" y="0"/>
            <a:ext cx="6858283" cy="4754880"/>
          </a:xfrm>
          <a:prstGeom prst="rect">
            <a:avLst/>
          </a:prstGeom>
          <a:pattFill prst="lgCheck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 b="1" i="0" baseline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picture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433470" y="2283752"/>
            <a:ext cx="1917122" cy="1627693"/>
          </a:xfrm>
          <a:prstGeom prst="rect">
            <a:avLst/>
          </a:prstGeom>
        </p:spPr>
        <p:txBody>
          <a:bodyPr/>
          <a:lstStyle>
            <a:lvl1pPr>
              <a:lnSpc>
                <a:spcPct val="75000"/>
              </a:lnSpc>
              <a:defRPr sz="3600" b="1" i="0">
                <a:solidFill>
                  <a:schemeClr val="tx1"/>
                </a:solidFill>
                <a:latin typeface="Bebas Neue" charset="0"/>
                <a:ea typeface="Bebas Neue" charset="0"/>
                <a:cs typeface="Bebas Neue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514350" y="4566805"/>
            <a:ext cx="32731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156761"/>
      </p:ext>
    </p:extLst>
  </p:cSld>
  <p:clrMapOvr>
    <a:masterClrMapping/>
  </p:clrMapOvr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514350" y="4566805"/>
            <a:ext cx="32731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620067"/>
      </p:ext>
    </p:extLst>
  </p:cSld>
  <p:clrMapOvr>
    <a:masterClrMapping/>
  </p:clrMapOvr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2310062" cy="4773168"/>
          </a:xfrm>
          <a:prstGeom prst="rect">
            <a:avLst/>
          </a:prstGeom>
          <a:pattFill prst="lgCheck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 b="1" i="0" baseline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picture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514350" y="4566805"/>
            <a:ext cx="32731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84886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285786106"/>
      </p:ext>
    </p:extLst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514350" y="954389"/>
            <a:ext cx="32731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1592901"/>
      </p:ext>
    </p:extLst>
  </p:cSld>
  <p:clrMapOvr>
    <a:masterClrMapping/>
  </p:clrMapOvr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pattFill prst="lgCheck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 b="1" i="0" baseline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picture</a:t>
            </a:r>
          </a:p>
        </p:txBody>
      </p:sp>
    </p:spTree>
    <p:extLst>
      <p:ext uri="{BB962C8B-B14F-4D97-AF65-F5344CB8AC3E}">
        <p14:creationId xmlns:p14="http://schemas.microsoft.com/office/powerpoint/2010/main" val="1384799934"/>
      </p:ext>
    </p:extLst>
  </p:cSld>
  <p:clrMapOvr>
    <a:masterClrMapping/>
  </p:clrMapOvr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2285720" y="1"/>
            <a:ext cx="6858283" cy="3373394"/>
          </a:xfrm>
          <a:prstGeom prst="rect">
            <a:avLst/>
          </a:prstGeom>
          <a:pattFill prst="lgCheck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 b="1" i="0" baseline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picture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D769B1B6-1B71-41A2-A70F-424E1892174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9224046"/>
      </p:ext>
    </p:extLst>
  </p:cSld>
  <p:clrMapOvr>
    <a:masterClrMapping/>
  </p:clrMapOvr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6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54108971"/>
      </p:ext>
    </p:extLst>
  </p:cSld>
  <p:clrMapOvr>
    <a:masterClrMapping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540" y="807556"/>
            <a:ext cx="8280920" cy="3470672"/>
          </a:xfrm>
        </p:spPr>
        <p:txBody>
          <a:bodyPr/>
          <a:lstStyle>
            <a:lvl1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1pPr>
            <a:lvl2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spcBef>
                <a:spcPts val="900"/>
              </a:spcBef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21083206"/>
      </p:ext>
    </p:extLst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24" y="1275606"/>
            <a:ext cx="5987008" cy="1372344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4000" b="0">
                <a:latin typeface="+mj-lt"/>
              </a:defRPr>
            </a:lvl1pPr>
          </a:lstStyle>
          <a:p>
            <a:r>
              <a:rPr lang="en-US"/>
              <a:t>Your headline will go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60024" y="2647950"/>
            <a:ext cx="6019800" cy="1752600"/>
          </a:xfrm>
        </p:spPr>
        <p:txBody>
          <a:bodyPr/>
          <a:lstStyle>
            <a:lvl1pPr>
              <a:defRPr sz="2000" baseline="0">
                <a:latin typeface="+mj-lt"/>
              </a:defRPr>
            </a:lvl1pPr>
          </a:lstStyle>
          <a:p>
            <a:pPr lvl="0"/>
            <a:r>
              <a:rPr lang="en-US"/>
              <a:t>Your subtitle will go here</a:t>
            </a:r>
          </a:p>
        </p:txBody>
      </p:sp>
    </p:spTree>
    <p:extLst>
      <p:ext uri="{BB962C8B-B14F-4D97-AF65-F5344CB8AC3E}">
        <p14:creationId xmlns:p14="http://schemas.microsoft.com/office/powerpoint/2010/main" val="2697054888"/>
      </p:ext>
    </p:extLst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8902" y="1203599"/>
            <a:ext cx="4851170" cy="316835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000" b="0" dirty="0" smtClean="0">
                <a:solidFill>
                  <a:schemeClr val="bg1"/>
                </a:solidFill>
                <a:latin typeface="+mj-lt"/>
              </a:defRPr>
            </a:lvl1pPr>
            <a:lvl2pPr algn="l">
              <a:defRPr sz="1800">
                <a:solidFill>
                  <a:schemeClr val="bg1"/>
                </a:solidFill>
              </a:defRPr>
            </a:lvl2pPr>
            <a:lvl3pPr algn="l">
              <a:defRPr sz="1800">
                <a:solidFill>
                  <a:schemeClr val="bg1"/>
                </a:solidFill>
              </a:defRPr>
            </a:lvl3pPr>
            <a:lvl4pPr algn="l">
              <a:defRPr sz="1800">
                <a:solidFill>
                  <a:schemeClr val="bg1"/>
                </a:solidFill>
              </a:defRPr>
            </a:lvl4pPr>
            <a:lvl5pPr algn="l"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Your headline will go here</a:t>
            </a:r>
          </a:p>
        </p:txBody>
      </p:sp>
    </p:spTree>
    <p:extLst>
      <p:ext uri="{BB962C8B-B14F-4D97-AF65-F5344CB8AC3E}">
        <p14:creationId xmlns:p14="http://schemas.microsoft.com/office/powerpoint/2010/main" val="1600395794"/>
      </p:ext>
    </p:extLst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8902" y="1203599"/>
            <a:ext cx="4851170" cy="3168352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lang="en-US" sz="4000" b="0" dirty="0" smtClean="0">
                <a:solidFill>
                  <a:schemeClr val="bg1"/>
                </a:solidFill>
                <a:latin typeface="+mj-lt"/>
              </a:defRPr>
            </a:lvl1pPr>
            <a:lvl2pPr algn="l">
              <a:defRPr sz="1800">
                <a:solidFill>
                  <a:schemeClr val="bg1"/>
                </a:solidFill>
              </a:defRPr>
            </a:lvl2pPr>
            <a:lvl3pPr algn="l">
              <a:defRPr sz="1800">
                <a:solidFill>
                  <a:schemeClr val="bg1"/>
                </a:solidFill>
              </a:defRPr>
            </a:lvl3pPr>
            <a:lvl4pPr algn="l">
              <a:defRPr sz="1800">
                <a:solidFill>
                  <a:schemeClr val="bg1"/>
                </a:solidFill>
              </a:defRPr>
            </a:lvl4pPr>
            <a:lvl5pPr algn="l">
              <a:defRPr sz="1800">
                <a:solidFill>
                  <a:schemeClr val="bg1"/>
                </a:solidFill>
              </a:defRPr>
            </a:lvl5pPr>
          </a:lstStyle>
          <a:p>
            <a:pPr marL="0" lv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/>
              <a:t>Your headline will go here</a:t>
            </a:r>
          </a:p>
        </p:txBody>
      </p:sp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342" t="3000" r="5789" b="16322"/>
          <a:stretch>
            <a:fillRect/>
          </a:stretch>
        </p:blipFill>
        <p:spPr bwMode="auto">
          <a:xfrm>
            <a:off x="4859434" y="-55562"/>
            <a:ext cx="8015287" cy="519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F:\InfoCepts_logo\InfoCepts Logo_Blue_PNG.png"/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409310"/>
            <a:ext cx="2304256" cy="217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5647023"/>
      </p:ext>
    </p:extLst>
  </p:cSld>
  <p:clrMapOvr>
    <a:masterClrMapping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F:\InfoCepts_logo\InfoCepts Logo_Blue_PNG.png"/>
          <p:cNvPicPr>
            <a:picLocks noChangeAspect="1" noChangeArrowheads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475" y="2462261"/>
            <a:ext cx="2304256" cy="217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0562533"/>
      </p:ext>
    </p:extLst>
  </p:cSld>
  <p:clrMapOvr>
    <a:masterClrMapping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88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6792131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7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6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65.xml"/><Relationship Id="rId10" Type="http://schemas.openxmlformats.org/officeDocument/2006/relationships/theme" Target="../theme/theme11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5" Type="http://schemas.openxmlformats.org/officeDocument/2006/relationships/slideLayout" Target="../slideLayouts/slideLayout74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73.xml"/><Relationship Id="rId9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theme" Target="../theme/theme13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5" Type="http://schemas.openxmlformats.org/officeDocument/2006/relationships/image" Target="../media/image1.png"/><Relationship Id="rId4" Type="http://schemas.openxmlformats.org/officeDocument/2006/relationships/image" Target="../media/image5.jpeg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2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image" Target="../media/image1.png"/><Relationship Id="rId5" Type="http://schemas.openxmlformats.org/officeDocument/2006/relationships/theme" Target="../theme/theme14.xml"/><Relationship Id="rId4" Type="http://schemas.openxmlformats.org/officeDocument/2006/relationships/slideLayout" Target="../slideLayouts/slideLayout83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8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87.xml"/><Relationship Id="rId9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16.xml"/><Relationship Id="rId1" Type="http://schemas.openxmlformats.org/officeDocument/2006/relationships/slideLayout" Target="../slideLayouts/slideLayout92.xml"/><Relationship Id="rId4" Type="http://schemas.openxmlformats.org/officeDocument/2006/relationships/image" Target="../media/image1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7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96.xml"/><Relationship Id="rId9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104.xml"/><Relationship Id="rId9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13.xml"/><Relationship Id="rId10" Type="http://schemas.openxmlformats.org/officeDocument/2006/relationships/theme" Target="../theme/theme19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22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121.xml"/><Relationship Id="rId9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theme" Target="../theme/theme21.xml"/><Relationship Id="rId2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4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140.xml"/><Relationship Id="rId9" Type="http://schemas.openxmlformats.org/officeDocument/2006/relationships/theme" Target="../theme/theme2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theme" Target="../theme/theme23.xml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3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5" Type="http://schemas.openxmlformats.org/officeDocument/2006/relationships/slideLayout" Target="../slideLayouts/slideLayout160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159.xml"/><Relationship Id="rId9" Type="http://schemas.openxmlformats.org/officeDocument/2006/relationships/theme" Target="../theme/theme24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3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70.xml"/><Relationship Id="rId12" Type="http://schemas.openxmlformats.org/officeDocument/2006/relationships/image" Target="../media/image7.png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theme" Target="../theme/theme25.xml"/><Relationship Id="rId5" Type="http://schemas.openxmlformats.org/officeDocument/2006/relationships/slideLayout" Target="../slideLayouts/slideLayout168.xml"/><Relationship Id="rId10" Type="http://schemas.openxmlformats.org/officeDocument/2006/relationships/slideLayout" Target="../slideLayouts/slideLayout173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theme" Target="../theme/theme26.xml"/><Relationship Id="rId1" Type="http://schemas.openxmlformats.org/officeDocument/2006/relationships/slideLayout" Target="../slideLayouts/slideLayout174.xml"/><Relationship Id="rId4" Type="http://schemas.openxmlformats.org/officeDocument/2006/relationships/image" Target="../media/image9.png"/></Relationships>
</file>

<file path=ppt/slideMasters/_rels/slideMaster2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7.xml"/><Relationship Id="rId18" Type="http://schemas.openxmlformats.org/officeDocument/2006/relationships/slideLayout" Target="../slideLayouts/slideLayout192.xml"/><Relationship Id="rId26" Type="http://schemas.openxmlformats.org/officeDocument/2006/relationships/slideLayout" Target="../slideLayouts/slideLayout200.xml"/><Relationship Id="rId39" Type="http://schemas.openxmlformats.org/officeDocument/2006/relationships/slideLayout" Target="../slideLayouts/slideLayout213.xml"/><Relationship Id="rId21" Type="http://schemas.openxmlformats.org/officeDocument/2006/relationships/slideLayout" Target="../slideLayouts/slideLayout195.xml"/><Relationship Id="rId34" Type="http://schemas.openxmlformats.org/officeDocument/2006/relationships/slideLayout" Target="../slideLayouts/slideLayout208.xml"/><Relationship Id="rId42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181.xml"/><Relationship Id="rId2" Type="http://schemas.openxmlformats.org/officeDocument/2006/relationships/slideLayout" Target="../slideLayouts/slideLayout176.xml"/><Relationship Id="rId16" Type="http://schemas.openxmlformats.org/officeDocument/2006/relationships/slideLayout" Target="../slideLayouts/slideLayout190.xml"/><Relationship Id="rId29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85.xml"/><Relationship Id="rId24" Type="http://schemas.openxmlformats.org/officeDocument/2006/relationships/slideLayout" Target="../slideLayouts/slideLayout198.xml"/><Relationship Id="rId32" Type="http://schemas.openxmlformats.org/officeDocument/2006/relationships/slideLayout" Target="../slideLayouts/slideLayout206.xml"/><Relationship Id="rId37" Type="http://schemas.openxmlformats.org/officeDocument/2006/relationships/slideLayout" Target="../slideLayouts/slideLayout211.xml"/><Relationship Id="rId40" Type="http://schemas.openxmlformats.org/officeDocument/2006/relationships/slideLayout" Target="../slideLayouts/slideLayout214.xml"/><Relationship Id="rId45" Type="http://schemas.openxmlformats.org/officeDocument/2006/relationships/theme" Target="../theme/theme27.xml"/><Relationship Id="rId5" Type="http://schemas.openxmlformats.org/officeDocument/2006/relationships/slideLayout" Target="../slideLayouts/slideLayout179.xml"/><Relationship Id="rId15" Type="http://schemas.openxmlformats.org/officeDocument/2006/relationships/slideLayout" Target="../slideLayouts/slideLayout189.xml"/><Relationship Id="rId23" Type="http://schemas.openxmlformats.org/officeDocument/2006/relationships/slideLayout" Target="../slideLayouts/slideLayout197.xml"/><Relationship Id="rId28" Type="http://schemas.openxmlformats.org/officeDocument/2006/relationships/slideLayout" Target="../slideLayouts/slideLayout202.xml"/><Relationship Id="rId36" Type="http://schemas.openxmlformats.org/officeDocument/2006/relationships/slideLayout" Target="../slideLayouts/slideLayout210.xml"/><Relationship Id="rId10" Type="http://schemas.openxmlformats.org/officeDocument/2006/relationships/slideLayout" Target="../slideLayouts/slideLayout184.xml"/><Relationship Id="rId19" Type="http://schemas.openxmlformats.org/officeDocument/2006/relationships/slideLayout" Target="../slideLayouts/slideLayout193.xml"/><Relationship Id="rId31" Type="http://schemas.openxmlformats.org/officeDocument/2006/relationships/slideLayout" Target="../slideLayouts/slideLayout205.xml"/><Relationship Id="rId44" Type="http://schemas.openxmlformats.org/officeDocument/2006/relationships/slideLayout" Target="../slideLayouts/slideLayout218.xml"/><Relationship Id="rId4" Type="http://schemas.openxmlformats.org/officeDocument/2006/relationships/slideLayout" Target="../slideLayouts/slideLayout178.xml"/><Relationship Id="rId9" Type="http://schemas.openxmlformats.org/officeDocument/2006/relationships/slideLayout" Target="../slideLayouts/slideLayout183.xml"/><Relationship Id="rId14" Type="http://schemas.openxmlformats.org/officeDocument/2006/relationships/slideLayout" Target="../slideLayouts/slideLayout188.xml"/><Relationship Id="rId22" Type="http://schemas.openxmlformats.org/officeDocument/2006/relationships/slideLayout" Target="../slideLayouts/slideLayout196.xml"/><Relationship Id="rId27" Type="http://schemas.openxmlformats.org/officeDocument/2006/relationships/slideLayout" Target="../slideLayouts/slideLayout201.xml"/><Relationship Id="rId30" Type="http://schemas.openxmlformats.org/officeDocument/2006/relationships/slideLayout" Target="../slideLayouts/slideLayout204.xml"/><Relationship Id="rId35" Type="http://schemas.openxmlformats.org/officeDocument/2006/relationships/slideLayout" Target="../slideLayouts/slideLayout209.xml"/><Relationship Id="rId43" Type="http://schemas.openxmlformats.org/officeDocument/2006/relationships/slideLayout" Target="../slideLayouts/slideLayout217.xml"/><Relationship Id="rId8" Type="http://schemas.openxmlformats.org/officeDocument/2006/relationships/slideLayout" Target="../slideLayouts/slideLayout182.xml"/><Relationship Id="rId3" Type="http://schemas.openxmlformats.org/officeDocument/2006/relationships/slideLayout" Target="../slideLayouts/slideLayout177.xml"/><Relationship Id="rId12" Type="http://schemas.openxmlformats.org/officeDocument/2006/relationships/slideLayout" Target="../slideLayouts/slideLayout186.xml"/><Relationship Id="rId17" Type="http://schemas.openxmlformats.org/officeDocument/2006/relationships/slideLayout" Target="../slideLayouts/slideLayout191.xml"/><Relationship Id="rId25" Type="http://schemas.openxmlformats.org/officeDocument/2006/relationships/slideLayout" Target="../slideLayouts/slideLayout199.xml"/><Relationship Id="rId33" Type="http://schemas.openxmlformats.org/officeDocument/2006/relationships/slideLayout" Target="../slideLayouts/slideLayout207.xml"/><Relationship Id="rId38" Type="http://schemas.openxmlformats.org/officeDocument/2006/relationships/slideLayout" Target="../slideLayouts/slideLayout212.xml"/><Relationship Id="rId46" Type="http://schemas.openxmlformats.org/officeDocument/2006/relationships/image" Target="../media/image10.png"/><Relationship Id="rId20" Type="http://schemas.openxmlformats.org/officeDocument/2006/relationships/slideLayout" Target="../slideLayouts/slideLayout194.xml"/><Relationship Id="rId41" Type="http://schemas.openxmlformats.org/officeDocument/2006/relationships/slideLayout" Target="../slideLayouts/slideLayout215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6.xml"/><Relationship Id="rId3" Type="http://schemas.openxmlformats.org/officeDocument/2006/relationships/slideLayout" Target="../slideLayouts/slideLayout221.xml"/><Relationship Id="rId7" Type="http://schemas.openxmlformats.org/officeDocument/2006/relationships/slideLayout" Target="../slideLayouts/slideLayout225.xml"/><Relationship Id="rId2" Type="http://schemas.openxmlformats.org/officeDocument/2006/relationships/slideLayout" Target="../slideLayouts/slideLayout220.xml"/><Relationship Id="rId1" Type="http://schemas.openxmlformats.org/officeDocument/2006/relationships/slideLayout" Target="../slideLayouts/slideLayout219.xml"/><Relationship Id="rId6" Type="http://schemas.openxmlformats.org/officeDocument/2006/relationships/slideLayout" Target="../slideLayouts/slideLayout224.xml"/><Relationship Id="rId5" Type="http://schemas.openxmlformats.org/officeDocument/2006/relationships/slideLayout" Target="../slideLayouts/slideLayout223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22.xml"/><Relationship Id="rId9" Type="http://schemas.openxmlformats.org/officeDocument/2006/relationships/theme" Target="../theme/theme28.xml"/></Relationships>
</file>

<file path=ppt/slideMasters/_rels/slideMaster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9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28.xml"/><Relationship Id="rId1" Type="http://schemas.openxmlformats.org/officeDocument/2006/relationships/slideLayout" Target="../slideLayouts/slideLayout227.xml"/><Relationship Id="rId6" Type="http://schemas.openxmlformats.org/officeDocument/2006/relationships/image" Target="../media/image12.png"/><Relationship Id="rId5" Type="http://schemas.openxmlformats.org/officeDocument/2006/relationships/theme" Target="../theme/theme29.xml"/><Relationship Id="rId4" Type="http://schemas.openxmlformats.org/officeDocument/2006/relationships/slideLayout" Target="../slideLayouts/slideLayout23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.pn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8.xml"/><Relationship Id="rId13" Type="http://schemas.openxmlformats.org/officeDocument/2006/relationships/slideLayout" Target="../slideLayouts/slideLayout243.xml"/><Relationship Id="rId18" Type="http://schemas.openxmlformats.org/officeDocument/2006/relationships/image" Target="../media/image13.png"/><Relationship Id="rId3" Type="http://schemas.openxmlformats.org/officeDocument/2006/relationships/slideLayout" Target="../slideLayouts/slideLayout233.xml"/><Relationship Id="rId7" Type="http://schemas.openxmlformats.org/officeDocument/2006/relationships/slideLayout" Target="../slideLayouts/slideLayout237.xml"/><Relationship Id="rId12" Type="http://schemas.openxmlformats.org/officeDocument/2006/relationships/slideLayout" Target="../slideLayouts/slideLayout242.xml"/><Relationship Id="rId17" Type="http://schemas.openxmlformats.org/officeDocument/2006/relationships/theme" Target="../theme/theme30.xml"/><Relationship Id="rId2" Type="http://schemas.openxmlformats.org/officeDocument/2006/relationships/slideLayout" Target="../slideLayouts/slideLayout232.xml"/><Relationship Id="rId16" Type="http://schemas.openxmlformats.org/officeDocument/2006/relationships/slideLayout" Target="../slideLayouts/slideLayout246.xml"/><Relationship Id="rId1" Type="http://schemas.openxmlformats.org/officeDocument/2006/relationships/slideLayout" Target="../slideLayouts/slideLayout231.xml"/><Relationship Id="rId6" Type="http://schemas.openxmlformats.org/officeDocument/2006/relationships/slideLayout" Target="../slideLayouts/slideLayout236.xml"/><Relationship Id="rId11" Type="http://schemas.openxmlformats.org/officeDocument/2006/relationships/slideLayout" Target="../slideLayouts/slideLayout241.xml"/><Relationship Id="rId5" Type="http://schemas.openxmlformats.org/officeDocument/2006/relationships/slideLayout" Target="../slideLayouts/slideLayout235.xml"/><Relationship Id="rId15" Type="http://schemas.openxmlformats.org/officeDocument/2006/relationships/slideLayout" Target="../slideLayouts/slideLayout245.xml"/><Relationship Id="rId10" Type="http://schemas.openxmlformats.org/officeDocument/2006/relationships/slideLayout" Target="../slideLayouts/slideLayout240.xml"/><Relationship Id="rId4" Type="http://schemas.openxmlformats.org/officeDocument/2006/relationships/slideLayout" Target="../slideLayouts/slideLayout234.xml"/><Relationship Id="rId9" Type="http://schemas.openxmlformats.org/officeDocument/2006/relationships/slideLayout" Target="../slideLayouts/slideLayout239.xml"/><Relationship Id="rId14" Type="http://schemas.openxmlformats.org/officeDocument/2006/relationships/slideLayout" Target="../slideLayouts/slideLayout244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4.xml"/><Relationship Id="rId3" Type="http://schemas.openxmlformats.org/officeDocument/2006/relationships/slideLayout" Target="../slideLayouts/slideLayout249.xml"/><Relationship Id="rId7" Type="http://schemas.openxmlformats.org/officeDocument/2006/relationships/slideLayout" Target="../slideLayouts/slideLayout253.xml"/><Relationship Id="rId12" Type="http://schemas.openxmlformats.org/officeDocument/2006/relationships/image" Target="../media/image7.png"/><Relationship Id="rId2" Type="http://schemas.openxmlformats.org/officeDocument/2006/relationships/slideLayout" Target="../slideLayouts/slideLayout248.xml"/><Relationship Id="rId1" Type="http://schemas.openxmlformats.org/officeDocument/2006/relationships/slideLayout" Target="../slideLayouts/slideLayout247.xml"/><Relationship Id="rId6" Type="http://schemas.openxmlformats.org/officeDocument/2006/relationships/slideLayout" Target="../slideLayouts/slideLayout252.xml"/><Relationship Id="rId11" Type="http://schemas.openxmlformats.org/officeDocument/2006/relationships/theme" Target="../theme/theme31.xml"/><Relationship Id="rId5" Type="http://schemas.openxmlformats.org/officeDocument/2006/relationships/slideLayout" Target="../slideLayouts/slideLayout251.xml"/><Relationship Id="rId10" Type="http://schemas.openxmlformats.org/officeDocument/2006/relationships/slideLayout" Target="../slideLayouts/slideLayout256.xml"/><Relationship Id="rId4" Type="http://schemas.openxmlformats.org/officeDocument/2006/relationships/slideLayout" Target="../slideLayouts/slideLayout250.xml"/><Relationship Id="rId9" Type="http://schemas.openxmlformats.org/officeDocument/2006/relationships/slideLayout" Target="../slideLayouts/slideLayout255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3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63.xml"/><Relationship Id="rId2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5" Type="http://schemas.openxmlformats.org/officeDocument/2006/relationships/slideLayout" Target="../slideLayouts/slideLayout261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60.xml"/><Relationship Id="rId9" Type="http://schemas.openxmlformats.org/officeDocument/2006/relationships/theme" Target="../theme/theme32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3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71.xml"/><Relationship Id="rId2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5" Type="http://schemas.openxmlformats.org/officeDocument/2006/relationships/slideLayout" Target="../slideLayouts/slideLayout269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68.xml"/><Relationship Id="rId9" Type="http://schemas.openxmlformats.org/officeDocument/2006/relationships/theme" Target="../theme/theme33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0.xml"/><Relationship Id="rId3" Type="http://schemas.openxmlformats.org/officeDocument/2006/relationships/slideLayout" Target="../slideLayouts/slideLayout275.xml"/><Relationship Id="rId7" Type="http://schemas.openxmlformats.org/officeDocument/2006/relationships/slideLayout" Target="../slideLayouts/slideLayout279.xml"/><Relationship Id="rId2" Type="http://schemas.openxmlformats.org/officeDocument/2006/relationships/slideLayout" Target="../slideLayouts/slideLayout274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5" Type="http://schemas.openxmlformats.org/officeDocument/2006/relationships/slideLayout" Target="../slideLayouts/slideLayout277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276.xml"/><Relationship Id="rId9" Type="http://schemas.openxmlformats.org/officeDocument/2006/relationships/theme" Target="../theme/theme34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8.xml"/><Relationship Id="rId3" Type="http://schemas.openxmlformats.org/officeDocument/2006/relationships/slideLayout" Target="../slideLayouts/slideLayout283.xml"/><Relationship Id="rId7" Type="http://schemas.openxmlformats.org/officeDocument/2006/relationships/slideLayout" Target="../slideLayouts/slideLayout287.xml"/><Relationship Id="rId2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81.xml"/><Relationship Id="rId6" Type="http://schemas.openxmlformats.org/officeDocument/2006/relationships/slideLayout" Target="../slideLayouts/slideLayout286.xml"/><Relationship Id="rId5" Type="http://schemas.openxmlformats.org/officeDocument/2006/relationships/slideLayout" Target="../slideLayouts/slideLayout285.xml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284.xml"/><Relationship Id="rId9" Type="http://schemas.openxmlformats.org/officeDocument/2006/relationships/theme" Target="../theme/theme35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3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95.xml"/><Relationship Id="rId2" Type="http://schemas.openxmlformats.org/officeDocument/2006/relationships/slideLayout" Target="../slideLayouts/slideLayout290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image" Target="../media/image14.png"/><Relationship Id="rId5" Type="http://schemas.openxmlformats.org/officeDocument/2006/relationships/slideLayout" Target="../slideLayouts/slideLayout293.xml"/><Relationship Id="rId10" Type="http://schemas.openxmlformats.org/officeDocument/2006/relationships/theme" Target="../theme/theme36.xml"/><Relationship Id="rId4" Type="http://schemas.openxmlformats.org/officeDocument/2006/relationships/slideLayout" Target="../slideLayouts/slideLayout292.xml"/><Relationship Id="rId9" Type="http://schemas.openxmlformats.org/officeDocument/2006/relationships/slideLayout" Target="../slideLayouts/slideLayout297.xml"/></Relationships>
</file>

<file path=ppt/slideMasters/_rels/slideMaster3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0.xml"/><Relationship Id="rId18" Type="http://schemas.openxmlformats.org/officeDocument/2006/relationships/slideLayout" Target="../slideLayouts/slideLayout315.xml"/><Relationship Id="rId26" Type="http://schemas.openxmlformats.org/officeDocument/2006/relationships/slideLayout" Target="../slideLayouts/slideLayout323.xml"/><Relationship Id="rId39" Type="http://schemas.openxmlformats.org/officeDocument/2006/relationships/slideLayout" Target="../slideLayouts/slideLayout336.xml"/><Relationship Id="rId21" Type="http://schemas.openxmlformats.org/officeDocument/2006/relationships/slideLayout" Target="../slideLayouts/slideLayout318.xml"/><Relationship Id="rId34" Type="http://schemas.openxmlformats.org/officeDocument/2006/relationships/slideLayout" Target="../slideLayouts/slideLayout331.xml"/><Relationship Id="rId42" Type="http://schemas.openxmlformats.org/officeDocument/2006/relationships/slideLayout" Target="../slideLayouts/slideLayout339.xml"/><Relationship Id="rId7" Type="http://schemas.openxmlformats.org/officeDocument/2006/relationships/slideLayout" Target="../slideLayouts/slideLayout304.xml"/><Relationship Id="rId2" Type="http://schemas.openxmlformats.org/officeDocument/2006/relationships/slideLayout" Target="../slideLayouts/slideLayout299.xml"/><Relationship Id="rId16" Type="http://schemas.openxmlformats.org/officeDocument/2006/relationships/slideLayout" Target="../slideLayouts/slideLayout313.xml"/><Relationship Id="rId29" Type="http://schemas.openxmlformats.org/officeDocument/2006/relationships/slideLayout" Target="../slideLayouts/slideLayout326.xml"/><Relationship Id="rId1" Type="http://schemas.openxmlformats.org/officeDocument/2006/relationships/slideLayout" Target="../slideLayouts/slideLayout298.xml"/><Relationship Id="rId6" Type="http://schemas.openxmlformats.org/officeDocument/2006/relationships/slideLayout" Target="../slideLayouts/slideLayout303.xml"/><Relationship Id="rId11" Type="http://schemas.openxmlformats.org/officeDocument/2006/relationships/slideLayout" Target="../slideLayouts/slideLayout308.xml"/><Relationship Id="rId24" Type="http://schemas.openxmlformats.org/officeDocument/2006/relationships/slideLayout" Target="../slideLayouts/slideLayout321.xml"/><Relationship Id="rId32" Type="http://schemas.openxmlformats.org/officeDocument/2006/relationships/slideLayout" Target="../slideLayouts/slideLayout329.xml"/><Relationship Id="rId37" Type="http://schemas.openxmlformats.org/officeDocument/2006/relationships/slideLayout" Target="../slideLayouts/slideLayout334.xml"/><Relationship Id="rId40" Type="http://schemas.openxmlformats.org/officeDocument/2006/relationships/slideLayout" Target="../slideLayouts/slideLayout337.xml"/><Relationship Id="rId45" Type="http://schemas.openxmlformats.org/officeDocument/2006/relationships/image" Target="../media/image7.png"/><Relationship Id="rId5" Type="http://schemas.openxmlformats.org/officeDocument/2006/relationships/slideLayout" Target="../slideLayouts/slideLayout302.xml"/><Relationship Id="rId15" Type="http://schemas.openxmlformats.org/officeDocument/2006/relationships/slideLayout" Target="../slideLayouts/slideLayout312.xml"/><Relationship Id="rId23" Type="http://schemas.openxmlformats.org/officeDocument/2006/relationships/slideLayout" Target="../slideLayouts/slideLayout320.xml"/><Relationship Id="rId28" Type="http://schemas.openxmlformats.org/officeDocument/2006/relationships/slideLayout" Target="../slideLayouts/slideLayout325.xml"/><Relationship Id="rId36" Type="http://schemas.openxmlformats.org/officeDocument/2006/relationships/slideLayout" Target="../slideLayouts/slideLayout333.xml"/><Relationship Id="rId10" Type="http://schemas.openxmlformats.org/officeDocument/2006/relationships/slideLayout" Target="../slideLayouts/slideLayout307.xml"/><Relationship Id="rId19" Type="http://schemas.openxmlformats.org/officeDocument/2006/relationships/slideLayout" Target="../slideLayouts/slideLayout316.xml"/><Relationship Id="rId31" Type="http://schemas.openxmlformats.org/officeDocument/2006/relationships/slideLayout" Target="../slideLayouts/slideLayout328.xml"/><Relationship Id="rId44" Type="http://schemas.openxmlformats.org/officeDocument/2006/relationships/theme" Target="../theme/theme37.xml"/><Relationship Id="rId4" Type="http://schemas.openxmlformats.org/officeDocument/2006/relationships/slideLayout" Target="../slideLayouts/slideLayout301.xml"/><Relationship Id="rId9" Type="http://schemas.openxmlformats.org/officeDocument/2006/relationships/slideLayout" Target="../slideLayouts/slideLayout306.xml"/><Relationship Id="rId14" Type="http://schemas.openxmlformats.org/officeDocument/2006/relationships/slideLayout" Target="../slideLayouts/slideLayout311.xml"/><Relationship Id="rId22" Type="http://schemas.openxmlformats.org/officeDocument/2006/relationships/slideLayout" Target="../slideLayouts/slideLayout319.xml"/><Relationship Id="rId27" Type="http://schemas.openxmlformats.org/officeDocument/2006/relationships/slideLayout" Target="../slideLayouts/slideLayout324.xml"/><Relationship Id="rId30" Type="http://schemas.openxmlformats.org/officeDocument/2006/relationships/slideLayout" Target="../slideLayouts/slideLayout327.xml"/><Relationship Id="rId35" Type="http://schemas.openxmlformats.org/officeDocument/2006/relationships/slideLayout" Target="../slideLayouts/slideLayout332.xml"/><Relationship Id="rId43" Type="http://schemas.openxmlformats.org/officeDocument/2006/relationships/slideLayout" Target="../slideLayouts/slideLayout340.xml"/><Relationship Id="rId8" Type="http://schemas.openxmlformats.org/officeDocument/2006/relationships/slideLayout" Target="../slideLayouts/slideLayout305.xml"/><Relationship Id="rId3" Type="http://schemas.openxmlformats.org/officeDocument/2006/relationships/slideLayout" Target="../slideLayouts/slideLayout300.xml"/><Relationship Id="rId12" Type="http://schemas.openxmlformats.org/officeDocument/2006/relationships/slideLayout" Target="../slideLayouts/slideLayout309.xml"/><Relationship Id="rId17" Type="http://schemas.openxmlformats.org/officeDocument/2006/relationships/slideLayout" Target="../slideLayouts/slideLayout314.xml"/><Relationship Id="rId25" Type="http://schemas.openxmlformats.org/officeDocument/2006/relationships/slideLayout" Target="../slideLayouts/slideLayout322.xml"/><Relationship Id="rId33" Type="http://schemas.openxmlformats.org/officeDocument/2006/relationships/slideLayout" Target="../slideLayouts/slideLayout330.xml"/><Relationship Id="rId38" Type="http://schemas.openxmlformats.org/officeDocument/2006/relationships/slideLayout" Target="../slideLayouts/slideLayout335.xml"/><Relationship Id="rId20" Type="http://schemas.openxmlformats.org/officeDocument/2006/relationships/slideLayout" Target="../slideLayouts/slideLayout317.xml"/><Relationship Id="rId41" Type="http://schemas.openxmlformats.org/officeDocument/2006/relationships/slideLayout" Target="../slideLayouts/slideLayout338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8.xml"/><Relationship Id="rId13" Type="http://schemas.openxmlformats.org/officeDocument/2006/relationships/slideLayout" Target="../slideLayouts/slideLayout353.xml"/><Relationship Id="rId18" Type="http://schemas.openxmlformats.org/officeDocument/2006/relationships/image" Target="../media/image13.png"/><Relationship Id="rId3" Type="http://schemas.openxmlformats.org/officeDocument/2006/relationships/slideLayout" Target="../slideLayouts/slideLayout343.xml"/><Relationship Id="rId7" Type="http://schemas.openxmlformats.org/officeDocument/2006/relationships/slideLayout" Target="../slideLayouts/slideLayout347.xml"/><Relationship Id="rId12" Type="http://schemas.openxmlformats.org/officeDocument/2006/relationships/slideLayout" Target="../slideLayouts/slideLayout352.xml"/><Relationship Id="rId17" Type="http://schemas.openxmlformats.org/officeDocument/2006/relationships/theme" Target="../theme/theme38.xml"/><Relationship Id="rId2" Type="http://schemas.openxmlformats.org/officeDocument/2006/relationships/slideLayout" Target="../slideLayouts/slideLayout342.xml"/><Relationship Id="rId16" Type="http://schemas.openxmlformats.org/officeDocument/2006/relationships/slideLayout" Target="../slideLayouts/slideLayout356.xml"/><Relationship Id="rId1" Type="http://schemas.openxmlformats.org/officeDocument/2006/relationships/slideLayout" Target="../slideLayouts/slideLayout341.xml"/><Relationship Id="rId6" Type="http://schemas.openxmlformats.org/officeDocument/2006/relationships/slideLayout" Target="../slideLayouts/slideLayout346.xml"/><Relationship Id="rId11" Type="http://schemas.openxmlformats.org/officeDocument/2006/relationships/slideLayout" Target="../slideLayouts/slideLayout351.xml"/><Relationship Id="rId5" Type="http://schemas.openxmlformats.org/officeDocument/2006/relationships/slideLayout" Target="../slideLayouts/slideLayout345.xml"/><Relationship Id="rId15" Type="http://schemas.openxmlformats.org/officeDocument/2006/relationships/slideLayout" Target="../slideLayouts/slideLayout355.xml"/><Relationship Id="rId10" Type="http://schemas.openxmlformats.org/officeDocument/2006/relationships/slideLayout" Target="../slideLayouts/slideLayout350.xml"/><Relationship Id="rId4" Type="http://schemas.openxmlformats.org/officeDocument/2006/relationships/slideLayout" Target="../slideLayouts/slideLayout344.xml"/><Relationship Id="rId9" Type="http://schemas.openxmlformats.org/officeDocument/2006/relationships/slideLayout" Target="../slideLayouts/slideLayout349.xml"/><Relationship Id="rId14" Type="http://schemas.openxmlformats.org/officeDocument/2006/relationships/slideLayout" Target="../slideLayouts/slideLayout354.xml"/></Relationships>
</file>

<file path=ppt/slideMasters/_rels/slideMaster3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9.xml"/><Relationship Id="rId18" Type="http://schemas.openxmlformats.org/officeDocument/2006/relationships/slideLayout" Target="../slideLayouts/slideLayout374.xml"/><Relationship Id="rId26" Type="http://schemas.openxmlformats.org/officeDocument/2006/relationships/slideLayout" Target="../slideLayouts/slideLayout382.xml"/><Relationship Id="rId39" Type="http://schemas.openxmlformats.org/officeDocument/2006/relationships/slideLayout" Target="../slideLayouts/slideLayout395.xml"/><Relationship Id="rId21" Type="http://schemas.openxmlformats.org/officeDocument/2006/relationships/slideLayout" Target="../slideLayouts/slideLayout377.xml"/><Relationship Id="rId34" Type="http://schemas.openxmlformats.org/officeDocument/2006/relationships/slideLayout" Target="../slideLayouts/slideLayout390.xml"/><Relationship Id="rId42" Type="http://schemas.openxmlformats.org/officeDocument/2006/relationships/slideLayout" Target="../slideLayouts/slideLayout398.xml"/><Relationship Id="rId47" Type="http://schemas.openxmlformats.org/officeDocument/2006/relationships/image" Target="../media/image17.png"/><Relationship Id="rId7" Type="http://schemas.openxmlformats.org/officeDocument/2006/relationships/slideLayout" Target="../slideLayouts/slideLayout363.xml"/><Relationship Id="rId2" Type="http://schemas.openxmlformats.org/officeDocument/2006/relationships/slideLayout" Target="../slideLayouts/slideLayout358.xml"/><Relationship Id="rId16" Type="http://schemas.openxmlformats.org/officeDocument/2006/relationships/slideLayout" Target="../slideLayouts/slideLayout372.xml"/><Relationship Id="rId29" Type="http://schemas.openxmlformats.org/officeDocument/2006/relationships/slideLayout" Target="../slideLayouts/slideLayout385.xml"/><Relationship Id="rId1" Type="http://schemas.openxmlformats.org/officeDocument/2006/relationships/slideLayout" Target="../slideLayouts/slideLayout357.xml"/><Relationship Id="rId6" Type="http://schemas.openxmlformats.org/officeDocument/2006/relationships/slideLayout" Target="../slideLayouts/slideLayout362.xml"/><Relationship Id="rId11" Type="http://schemas.openxmlformats.org/officeDocument/2006/relationships/slideLayout" Target="../slideLayouts/slideLayout367.xml"/><Relationship Id="rId24" Type="http://schemas.openxmlformats.org/officeDocument/2006/relationships/slideLayout" Target="../slideLayouts/slideLayout380.xml"/><Relationship Id="rId32" Type="http://schemas.openxmlformats.org/officeDocument/2006/relationships/slideLayout" Target="../slideLayouts/slideLayout388.xml"/><Relationship Id="rId37" Type="http://schemas.openxmlformats.org/officeDocument/2006/relationships/slideLayout" Target="../slideLayouts/slideLayout393.xml"/><Relationship Id="rId40" Type="http://schemas.openxmlformats.org/officeDocument/2006/relationships/slideLayout" Target="../slideLayouts/slideLayout396.xml"/><Relationship Id="rId45" Type="http://schemas.openxmlformats.org/officeDocument/2006/relationships/slideLayout" Target="../slideLayouts/slideLayout401.xml"/><Relationship Id="rId5" Type="http://schemas.openxmlformats.org/officeDocument/2006/relationships/slideLayout" Target="../slideLayouts/slideLayout361.xml"/><Relationship Id="rId15" Type="http://schemas.openxmlformats.org/officeDocument/2006/relationships/slideLayout" Target="../slideLayouts/slideLayout371.xml"/><Relationship Id="rId23" Type="http://schemas.openxmlformats.org/officeDocument/2006/relationships/slideLayout" Target="../slideLayouts/slideLayout379.xml"/><Relationship Id="rId28" Type="http://schemas.openxmlformats.org/officeDocument/2006/relationships/slideLayout" Target="../slideLayouts/slideLayout384.xml"/><Relationship Id="rId36" Type="http://schemas.openxmlformats.org/officeDocument/2006/relationships/slideLayout" Target="../slideLayouts/slideLayout392.xml"/><Relationship Id="rId10" Type="http://schemas.openxmlformats.org/officeDocument/2006/relationships/slideLayout" Target="../slideLayouts/slideLayout366.xml"/><Relationship Id="rId19" Type="http://schemas.openxmlformats.org/officeDocument/2006/relationships/slideLayout" Target="../slideLayouts/slideLayout375.xml"/><Relationship Id="rId31" Type="http://schemas.openxmlformats.org/officeDocument/2006/relationships/slideLayout" Target="../slideLayouts/slideLayout387.xml"/><Relationship Id="rId44" Type="http://schemas.openxmlformats.org/officeDocument/2006/relationships/slideLayout" Target="../slideLayouts/slideLayout400.xml"/><Relationship Id="rId4" Type="http://schemas.openxmlformats.org/officeDocument/2006/relationships/slideLayout" Target="../slideLayouts/slideLayout360.xml"/><Relationship Id="rId9" Type="http://schemas.openxmlformats.org/officeDocument/2006/relationships/slideLayout" Target="../slideLayouts/slideLayout365.xml"/><Relationship Id="rId14" Type="http://schemas.openxmlformats.org/officeDocument/2006/relationships/slideLayout" Target="../slideLayouts/slideLayout370.xml"/><Relationship Id="rId22" Type="http://schemas.openxmlformats.org/officeDocument/2006/relationships/slideLayout" Target="../slideLayouts/slideLayout378.xml"/><Relationship Id="rId27" Type="http://schemas.openxmlformats.org/officeDocument/2006/relationships/slideLayout" Target="../slideLayouts/slideLayout383.xml"/><Relationship Id="rId30" Type="http://schemas.openxmlformats.org/officeDocument/2006/relationships/slideLayout" Target="../slideLayouts/slideLayout386.xml"/><Relationship Id="rId35" Type="http://schemas.openxmlformats.org/officeDocument/2006/relationships/slideLayout" Target="../slideLayouts/slideLayout391.xml"/><Relationship Id="rId43" Type="http://schemas.openxmlformats.org/officeDocument/2006/relationships/slideLayout" Target="../slideLayouts/slideLayout399.xml"/><Relationship Id="rId8" Type="http://schemas.openxmlformats.org/officeDocument/2006/relationships/slideLayout" Target="../slideLayouts/slideLayout364.xml"/><Relationship Id="rId3" Type="http://schemas.openxmlformats.org/officeDocument/2006/relationships/slideLayout" Target="../slideLayouts/slideLayout359.xml"/><Relationship Id="rId12" Type="http://schemas.openxmlformats.org/officeDocument/2006/relationships/slideLayout" Target="../slideLayouts/slideLayout368.xml"/><Relationship Id="rId17" Type="http://schemas.openxmlformats.org/officeDocument/2006/relationships/slideLayout" Target="../slideLayouts/slideLayout373.xml"/><Relationship Id="rId25" Type="http://schemas.openxmlformats.org/officeDocument/2006/relationships/slideLayout" Target="../slideLayouts/slideLayout381.xml"/><Relationship Id="rId33" Type="http://schemas.openxmlformats.org/officeDocument/2006/relationships/slideLayout" Target="../slideLayouts/slideLayout389.xml"/><Relationship Id="rId38" Type="http://schemas.openxmlformats.org/officeDocument/2006/relationships/slideLayout" Target="../slideLayouts/slideLayout394.xml"/><Relationship Id="rId46" Type="http://schemas.openxmlformats.org/officeDocument/2006/relationships/theme" Target="../theme/theme39.xml"/><Relationship Id="rId20" Type="http://schemas.openxmlformats.org/officeDocument/2006/relationships/slideLayout" Target="../slideLayouts/slideLayout376.xml"/><Relationship Id="rId41" Type="http://schemas.openxmlformats.org/officeDocument/2006/relationships/slideLayout" Target="../slideLayouts/slideLayout39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.pn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18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9.xml"/><Relationship Id="rId3" Type="http://schemas.openxmlformats.org/officeDocument/2006/relationships/slideLayout" Target="../slideLayouts/slideLayout404.xml"/><Relationship Id="rId7" Type="http://schemas.openxmlformats.org/officeDocument/2006/relationships/slideLayout" Target="../slideLayouts/slideLayout408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403.xml"/><Relationship Id="rId1" Type="http://schemas.openxmlformats.org/officeDocument/2006/relationships/slideLayout" Target="../slideLayouts/slideLayout402.xml"/><Relationship Id="rId6" Type="http://schemas.openxmlformats.org/officeDocument/2006/relationships/slideLayout" Target="../slideLayouts/slideLayout407.xml"/><Relationship Id="rId11" Type="http://schemas.openxmlformats.org/officeDocument/2006/relationships/theme" Target="../theme/theme40.xml"/><Relationship Id="rId5" Type="http://schemas.openxmlformats.org/officeDocument/2006/relationships/slideLayout" Target="../slideLayouts/slideLayout406.xml"/><Relationship Id="rId10" Type="http://schemas.openxmlformats.org/officeDocument/2006/relationships/slideLayout" Target="../slideLayouts/slideLayout411.xml"/><Relationship Id="rId4" Type="http://schemas.openxmlformats.org/officeDocument/2006/relationships/slideLayout" Target="../slideLayouts/slideLayout405.xml"/><Relationship Id="rId9" Type="http://schemas.openxmlformats.org/officeDocument/2006/relationships/slideLayout" Target="../slideLayouts/slideLayout410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9.xml"/><Relationship Id="rId3" Type="http://schemas.openxmlformats.org/officeDocument/2006/relationships/slideLayout" Target="../slideLayouts/slideLayout414.xml"/><Relationship Id="rId7" Type="http://schemas.openxmlformats.org/officeDocument/2006/relationships/slideLayout" Target="../slideLayouts/slideLayout418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413.xml"/><Relationship Id="rId1" Type="http://schemas.openxmlformats.org/officeDocument/2006/relationships/slideLayout" Target="../slideLayouts/slideLayout412.xml"/><Relationship Id="rId6" Type="http://schemas.openxmlformats.org/officeDocument/2006/relationships/slideLayout" Target="../slideLayouts/slideLayout417.xml"/><Relationship Id="rId11" Type="http://schemas.openxmlformats.org/officeDocument/2006/relationships/theme" Target="../theme/theme41.xml"/><Relationship Id="rId5" Type="http://schemas.openxmlformats.org/officeDocument/2006/relationships/slideLayout" Target="../slideLayouts/slideLayout416.xml"/><Relationship Id="rId10" Type="http://schemas.openxmlformats.org/officeDocument/2006/relationships/slideLayout" Target="../slideLayouts/slideLayout421.xml"/><Relationship Id="rId4" Type="http://schemas.openxmlformats.org/officeDocument/2006/relationships/slideLayout" Target="../slideLayouts/slideLayout415.xml"/><Relationship Id="rId9" Type="http://schemas.openxmlformats.org/officeDocument/2006/relationships/slideLayout" Target="../slideLayouts/slideLayout420.x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9.xml"/><Relationship Id="rId13" Type="http://schemas.openxmlformats.org/officeDocument/2006/relationships/slideLayout" Target="../slideLayouts/slideLayout434.xml"/><Relationship Id="rId18" Type="http://schemas.openxmlformats.org/officeDocument/2006/relationships/theme" Target="../theme/theme42.xml"/><Relationship Id="rId3" Type="http://schemas.openxmlformats.org/officeDocument/2006/relationships/slideLayout" Target="../slideLayouts/slideLayout424.xml"/><Relationship Id="rId7" Type="http://schemas.openxmlformats.org/officeDocument/2006/relationships/slideLayout" Target="../slideLayouts/slideLayout428.xml"/><Relationship Id="rId12" Type="http://schemas.openxmlformats.org/officeDocument/2006/relationships/slideLayout" Target="../slideLayouts/slideLayout433.xml"/><Relationship Id="rId17" Type="http://schemas.openxmlformats.org/officeDocument/2006/relationships/slideLayout" Target="../slideLayouts/slideLayout438.xml"/><Relationship Id="rId2" Type="http://schemas.openxmlformats.org/officeDocument/2006/relationships/slideLayout" Target="../slideLayouts/slideLayout423.xml"/><Relationship Id="rId16" Type="http://schemas.openxmlformats.org/officeDocument/2006/relationships/slideLayout" Target="../slideLayouts/slideLayout437.xml"/><Relationship Id="rId1" Type="http://schemas.openxmlformats.org/officeDocument/2006/relationships/slideLayout" Target="../slideLayouts/slideLayout422.xml"/><Relationship Id="rId6" Type="http://schemas.openxmlformats.org/officeDocument/2006/relationships/slideLayout" Target="../slideLayouts/slideLayout427.xml"/><Relationship Id="rId11" Type="http://schemas.openxmlformats.org/officeDocument/2006/relationships/slideLayout" Target="../slideLayouts/slideLayout432.xml"/><Relationship Id="rId5" Type="http://schemas.openxmlformats.org/officeDocument/2006/relationships/slideLayout" Target="../slideLayouts/slideLayout426.xml"/><Relationship Id="rId15" Type="http://schemas.openxmlformats.org/officeDocument/2006/relationships/slideLayout" Target="../slideLayouts/slideLayout436.xml"/><Relationship Id="rId10" Type="http://schemas.openxmlformats.org/officeDocument/2006/relationships/slideLayout" Target="../slideLayouts/slideLayout431.xml"/><Relationship Id="rId4" Type="http://schemas.openxmlformats.org/officeDocument/2006/relationships/slideLayout" Target="../slideLayouts/slideLayout425.xml"/><Relationship Id="rId9" Type="http://schemas.openxmlformats.org/officeDocument/2006/relationships/slideLayout" Target="../slideLayouts/slideLayout430.xml"/><Relationship Id="rId14" Type="http://schemas.openxmlformats.org/officeDocument/2006/relationships/slideLayout" Target="../slideLayouts/slideLayout435.xml"/></Relationships>
</file>

<file path=ppt/slideMasters/_rels/slideMaster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1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440.xml"/><Relationship Id="rId1" Type="http://schemas.openxmlformats.org/officeDocument/2006/relationships/slideLayout" Target="../slideLayouts/slideLayout439.xml"/><Relationship Id="rId6" Type="http://schemas.openxmlformats.org/officeDocument/2006/relationships/image" Target="../media/image1.png"/><Relationship Id="rId5" Type="http://schemas.openxmlformats.org/officeDocument/2006/relationships/theme" Target="../theme/theme43.xml"/><Relationship Id="rId4" Type="http://schemas.openxmlformats.org/officeDocument/2006/relationships/slideLayout" Target="../slideLayouts/slideLayout442.xml"/></Relationships>
</file>

<file path=ppt/slideMasters/_rels/slideMaster4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5.xml"/><Relationship Id="rId18" Type="http://schemas.openxmlformats.org/officeDocument/2006/relationships/slideLayout" Target="../slideLayouts/slideLayout460.xml"/><Relationship Id="rId26" Type="http://schemas.openxmlformats.org/officeDocument/2006/relationships/slideLayout" Target="../slideLayouts/slideLayout468.xml"/><Relationship Id="rId39" Type="http://schemas.openxmlformats.org/officeDocument/2006/relationships/slideLayout" Target="../slideLayouts/slideLayout481.xml"/><Relationship Id="rId21" Type="http://schemas.openxmlformats.org/officeDocument/2006/relationships/slideLayout" Target="../slideLayouts/slideLayout463.xml"/><Relationship Id="rId34" Type="http://schemas.openxmlformats.org/officeDocument/2006/relationships/slideLayout" Target="../slideLayouts/slideLayout476.xml"/><Relationship Id="rId42" Type="http://schemas.openxmlformats.org/officeDocument/2006/relationships/slideLayout" Target="../slideLayouts/slideLayout484.xml"/><Relationship Id="rId7" Type="http://schemas.openxmlformats.org/officeDocument/2006/relationships/slideLayout" Target="../slideLayouts/slideLayout449.xml"/><Relationship Id="rId2" Type="http://schemas.openxmlformats.org/officeDocument/2006/relationships/slideLayout" Target="../slideLayouts/slideLayout444.xml"/><Relationship Id="rId16" Type="http://schemas.openxmlformats.org/officeDocument/2006/relationships/slideLayout" Target="../slideLayouts/slideLayout458.xml"/><Relationship Id="rId29" Type="http://schemas.openxmlformats.org/officeDocument/2006/relationships/slideLayout" Target="../slideLayouts/slideLayout471.xml"/><Relationship Id="rId1" Type="http://schemas.openxmlformats.org/officeDocument/2006/relationships/slideLayout" Target="../slideLayouts/slideLayout443.xml"/><Relationship Id="rId6" Type="http://schemas.openxmlformats.org/officeDocument/2006/relationships/slideLayout" Target="../slideLayouts/slideLayout448.xml"/><Relationship Id="rId11" Type="http://schemas.openxmlformats.org/officeDocument/2006/relationships/slideLayout" Target="../slideLayouts/slideLayout453.xml"/><Relationship Id="rId24" Type="http://schemas.openxmlformats.org/officeDocument/2006/relationships/slideLayout" Target="../slideLayouts/slideLayout466.xml"/><Relationship Id="rId32" Type="http://schemas.openxmlformats.org/officeDocument/2006/relationships/slideLayout" Target="../slideLayouts/slideLayout474.xml"/><Relationship Id="rId37" Type="http://schemas.openxmlformats.org/officeDocument/2006/relationships/slideLayout" Target="../slideLayouts/slideLayout479.xml"/><Relationship Id="rId40" Type="http://schemas.openxmlformats.org/officeDocument/2006/relationships/slideLayout" Target="../slideLayouts/slideLayout482.xml"/><Relationship Id="rId45" Type="http://schemas.openxmlformats.org/officeDocument/2006/relationships/image" Target="../media/image10.png"/><Relationship Id="rId5" Type="http://schemas.openxmlformats.org/officeDocument/2006/relationships/slideLayout" Target="../slideLayouts/slideLayout447.xml"/><Relationship Id="rId15" Type="http://schemas.openxmlformats.org/officeDocument/2006/relationships/slideLayout" Target="../slideLayouts/slideLayout457.xml"/><Relationship Id="rId23" Type="http://schemas.openxmlformats.org/officeDocument/2006/relationships/slideLayout" Target="../slideLayouts/slideLayout465.xml"/><Relationship Id="rId28" Type="http://schemas.openxmlformats.org/officeDocument/2006/relationships/slideLayout" Target="../slideLayouts/slideLayout470.xml"/><Relationship Id="rId36" Type="http://schemas.openxmlformats.org/officeDocument/2006/relationships/slideLayout" Target="../slideLayouts/slideLayout478.xml"/><Relationship Id="rId10" Type="http://schemas.openxmlformats.org/officeDocument/2006/relationships/slideLayout" Target="../slideLayouts/slideLayout452.xml"/><Relationship Id="rId19" Type="http://schemas.openxmlformats.org/officeDocument/2006/relationships/slideLayout" Target="../slideLayouts/slideLayout461.xml"/><Relationship Id="rId31" Type="http://schemas.openxmlformats.org/officeDocument/2006/relationships/slideLayout" Target="../slideLayouts/slideLayout473.xml"/><Relationship Id="rId44" Type="http://schemas.openxmlformats.org/officeDocument/2006/relationships/theme" Target="../theme/theme44.xml"/><Relationship Id="rId4" Type="http://schemas.openxmlformats.org/officeDocument/2006/relationships/slideLayout" Target="../slideLayouts/slideLayout446.xml"/><Relationship Id="rId9" Type="http://schemas.openxmlformats.org/officeDocument/2006/relationships/slideLayout" Target="../slideLayouts/slideLayout451.xml"/><Relationship Id="rId14" Type="http://schemas.openxmlformats.org/officeDocument/2006/relationships/slideLayout" Target="../slideLayouts/slideLayout456.xml"/><Relationship Id="rId22" Type="http://schemas.openxmlformats.org/officeDocument/2006/relationships/slideLayout" Target="../slideLayouts/slideLayout464.xml"/><Relationship Id="rId27" Type="http://schemas.openxmlformats.org/officeDocument/2006/relationships/slideLayout" Target="../slideLayouts/slideLayout469.xml"/><Relationship Id="rId30" Type="http://schemas.openxmlformats.org/officeDocument/2006/relationships/slideLayout" Target="../slideLayouts/slideLayout472.xml"/><Relationship Id="rId35" Type="http://schemas.openxmlformats.org/officeDocument/2006/relationships/slideLayout" Target="../slideLayouts/slideLayout477.xml"/><Relationship Id="rId43" Type="http://schemas.openxmlformats.org/officeDocument/2006/relationships/slideLayout" Target="../slideLayouts/slideLayout485.xml"/><Relationship Id="rId8" Type="http://schemas.openxmlformats.org/officeDocument/2006/relationships/slideLayout" Target="../slideLayouts/slideLayout450.xml"/><Relationship Id="rId3" Type="http://schemas.openxmlformats.org/officeDocument/2006/relationships/slideLayout" Target="../slideLayouts/slideLayout445.xml"/><Relationship Id="rId12" Type="http://schemas.openxmlformats.org/officeDocument/2006/relationships/slideLayout" Target="../slideLayouts/slideLayout454.xml"/><Relationship Id="rId17" Type="http://schemas.openxmlformats.org/officeDocument/2006/relationships/slideLayout" Target="../slideLayouts/slideLayout459.xml"/><Relationship Id="rId25" Type="http://schemas.openxmlformats.org/officeDocument/2006/relationships/slideLayout" Target="../slideLayouts/slideLayout467.xml"/><Relationship Id="rId33" Type="http://schemas.openxmlformats.org/officeDocument/2006/relationships/slideLayout" Target="../slideLayouts/slideLayout475.xml"/><Relationship Id="rId38" Type="http://schemas.openxmlformats.org/officeDocument/2006/relationships/slideLayout" Target="../slideLayouts/slideLayout480.xml"/><Relationship Id="rId20" Type="http://schemas.openxmlformats.org/officeDocument/2006/relationships/slideLayout" Target="../slideLayouts/slideLayout462.xml"/><Relationship Id="rId41" Type="http://schemas.openxmlformats.org/officeDocument/2006/relationships/slideLayout" Target="../slideLayouts/slideLayout483.xml"/></Relationships>
</file>

<file path=ppt/slideMasters/_rels/slideMaster4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98.xml"/><Relationship Id="rId18" Type="http://schemas.openxmlformats.org/officeDocument/2006/relationships/slideLayout" Target="../slideLayouts/slideLayout503.xml"/><Relationship Id="rId26" Type="http://schemas.openxmlformats.org/officeDocument/2006/relationships/slideLayout" Target="../slideLayouts/slideLayout511.xml"/><Relationship Id="rId39" Type="http://schemas.openxmlformats.org/officeDocument/2006/relationships/slideLayout" Target="../slideLayouts/slideLayout524.xml"/><Relationship Id="rId21" Type="http://schemas.openxmlformats.org/officeDocument/2006/relationships/slideLayout" Target="../slideLayouts/slideLayout506.xml"/><Relationship Id="rId34" Type="http://schemas.openxmlformats.org/officeDocument/2006/relationships/slideLayout" Target="../slideLayouts/slideLayout519.xml"/><Relationship Id="rId42" Type="http://schemas.openxmlformats.org/officeDocument/2006/relationships/slideLayout" Target="../slideLayouts/slideLayout527.xml"/><Relationship Id="rId7" Type="http://schemas.openxmlformats.org/officeDocument/2006/relationships/slideLayout" Target="../slideLayouts/slideLayout492.xml"/><Relationship Id="rId2" Type="http://schemas.openxmlformats.org/officeDocument/2006/relationships/slideLayout" Target="../slideLayouts/slideLayout487.xml"/><Relationship Id="rId16" Type="http://schemas.openxmlformats.org/officeDocument/2006/relationships/slideLayout" Target="../slideLayouts/slideLayout501.xml"/><Relationship Id="rId29" Type="http://schemas.openxmlformats.org/officeDocument/2006/relationships/slideLayout" Target="../slideLayouts/slideLayout514.xml"/><Relationship Id="rId1" Type="http://schemas.openxmlformats.org/officeDocument/2006/relationships/slideLayout" Target="../slideLayouts/slideLayout486.xml"/><Relationship Id="rId6" Type="http://schemas.openxmlformats.org/officeDocument/2006/relationships/slideLayout" Target="../slideLayouts/slideLayout491.xml"/><Relationship Id="rId11" Type="http://schemas.openxmlformats.org/officeDocument/2006/relationships/slideLayout" Target="../slideLayouts/slideLayout496.xml"/><Relationship Id="rId24" Type="http://schemas.openxmlformats.org/officeDocument/2006/relationships/slideLayout" Target="../slideLayouts/slideLayout509.xml"/><Relationship Id="rId32" Type="http://schemas.openxmlformats.org/officeDocument/2006/relationships/slideLayout" Target="../slideLayouts/slideLayout517.xml"/><Relationship Id="rId37" Type="http://schemas.openxmlformats.org/officeDocument/2006/relationships/slideLayout" Target="../slideLayouts/slideLayout522.xml"/><Relationship Id="rId40" Type="http://schemas.openxmlformats.org/officeDocument/2006/relationships/slideLayout" Target="../slideLayouts/slideLayout525.xml"/><Relationship Id="rId45" Type="http://schemas.openxmlformats.org/officeDocument/2006/relationships/theme" Target="../theme/theme45.xml"/><Relationship Id="rId5" Type="http://schemas.openxmlformats.org/officeDocument/2006/relationships/slideLayout" Target="../slideLayouts/slideLayout490.xml"/><Relationship Id="rId15" Type="http://schemas.openxmlformats.org/officeDocument/2006/relationships/slideLayout" Target="../slideLayouts/slideLayout500.xml"/><Relationship Id="rId23" Type="http://schemas.openxmlformats.org/officeDocument/2006/relationships/slideLayout" Target="../slideLayouts/slideLayout508.xml"/><Relationship Id="rId28" Type="http://schemas.openxmlformats.org/officeDocument/2006/relationships/slideLayout" Target="../slideLayouts/slideLayout513.xml"/><Relationship Id="rId36" Type="http://schemas.openxmlformats.org/officeDocument/2006/relationships/slideLayout" Target="../slideLayouts/slideLayout521.xml"/><Relationship Id="rId10" Type="http://schemas.openxmlformats.org/officeDocument/2006/relationships/slideLayout" Target="../slideLayouts/slideLayout495.xml"/><Relationship Id="rId19" Type="http://schemas.openxmlformats.org/officeDocument/2006/relationships/slideLayout" Target="../slideLayouts/slideLayout504.xml"/><Relationship Id="rId31" Type="http://schemas.openxmlformats.org/officeDocument/2006/relationships/slideLayout" Target="../slideLayouts/slideLayout516.xml"/><Relationship Id="rId44" Type="http://schemas.openxmlformats.org/officeDocument/2006/relationships/slideLayout" Target="../slideLayouts/slideLayout529.xml"/><Relationship Id="rId4" Type="http://schemas.openxmlformats.org/officeDocument/2006/relationships/slideLayout" Target="../slideLayouts/slideLayout489.xml"/><Relationship Id="rId9" Type="http://schemas.openxmlformats.org/officeDocument/2006/relationships/slideLayout" Target="../slideLayouts/slideLayout494.xml"/><Relationship Id="rId14" Type="http://schemas.openxmlformats.org/officeDocument/2006/relationships/slideLayout" Target="../slideLayouts/slideLayout499.xml"/><Relationship Id="rId22" Type="http://schemas.openxmlformats.org/officeDocument/2006/relationships/slideLayout" Target="../slideLayouts/slideLayout507.xml"/><Relationship Id="rId27" Type="http://schemas.openxmlformats.org/officeDocument/2006/relationships/slideLayout" Target="../slideLayouts/slideLayout512.xml"/><Relationship Id="rId30" Type="http://schemas.openxmlformats.org/officeDocument/2006/relationships/slideLayout" Target="../slideLayouts/slideLayout515.xml"/><Relationship Id="rId35" Type="http://schemas.openxmlformats.org/officeDocument/2006/relationships/slideLayout" Target="../slideLayouts/slideLayout520.xml"/><Relationship Id="rId43" Type="http://schemas.openxmlformats.org/officeDocument/2006/relationships/slideLayout" Target="../slideLayouts/slideLayout528.xml"/><Relationship Id="rId8" Type="http://schemas.openxmlformats.org/officeDocument/2006/relationships/slideLayout" Target="../slideLayouts/slideLayout493.xml"/><Relationship Id="rId3" Type="http://schemas.openxmlformats.org/officeDocument/2006/relationships/slideLayout" Target="../slideLayouts/slideLayout488.xml"/><Relationship Id="rId12" Type="http://schemas.openxmlformats.org/officeDocument/2006/relationships/slideLayout" Target="../slideLayouts/slideLayout497.xml"/><Relationship Id="rId17" Type="http://schemas.openxmlformats.org/officeDocument/2006/relationships/slideLayout" Target="../slideLayouts/slideLayout502.xml"/><Relationship Id="rId25" Type="http://schemas.openxmlformats.org/officeDocument/2006/relationships/slideLayout" Target="../slideLayouts/slideLayout510.xml"/><Relationship Id="rId33" Type="http://schemas.openxmlformats.org/officeDocument/2006/relationships/slideLayout" Target="../slideLayouts/slideLayout518.xml"/><Relationship Id="rId38" Type="http://schemas.openxmlformats.org/officeDocument/2006/relationships/slideLayout" Target="../slideLayouts/slideLayout523.xml"/><Relationship Id="rId46" Type="http://schemas.openxmlformats.org/officeDocument/2006/relationships/image" Target="../media/image10.png"/><Relationship Id="rId20" Type="http://schemas.openxmlformats.org/officeDocument/2006/relationships/slideLayout" Target="../slideLayouts/slideLayout505.xml"/><Relationship Id="rId41" Type="http://schemas.openxmlformats.org/officeDocument/2006/relationships/slideLayout" Target="../slideLayouts/slideLayout526.xml"/></Relationships>
</file>

<file path=ppt/slideMasters/_rels/slideMaster4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2.xml"/><Relationship Id="rId18" Type="http://schemas.openxmlformats.org/officeDocument/2006/relationships/slideLayout" Target="../slideLayouts/slideLayout547.xml"/><Relationship Id="rId26" Type="http://schemas.openxmlformats.org/officeDocument/2006/relationships/slideLayout" Target="../slideLayouts/slideLayout555.xml"/><Relationship Id="rId39" Type="http://schemas.openxmlformats.org/officeDocument/2006/relationships/slideLayout" Target="../slideLayouts/slideLayout568.xml"/><Relationship Id="rId21" Type="http://schemas.openxmlformats.org/officeDocument/2006/relationships/slideLayout" Target="../slideLayouts/slideLayout550.xml"/><Relationship Id="rId34" Type="http://schemas.openxmlformats.org/officeDocument/2006/relationships/slideLayout" Target="../slideLayouts/slideLayout563.xml"/><Relationship Id="rId42" Type="http://schemas.openxmlformats.org/officeDocument/2006/relationships/slideLayout" Target="../slideLayouts/slideLayout571.xml"/><Relationship Id="rId7" Type="http://schemas.openxmlformats.org/officeDocument/2006/relationships/slideLayout" Target="../slideLayouts/slideLayout536.xml"/><Relationship Id="rId2" Type="http://schemas.openxmlformats.org/officeDocument/2006/relationships/slideLayout" Target="../slideLayouts/slideLayout531.xml"/><Relationship Id="rId16" Type="http://schemas.openxmlformats.org/officeDocument/2006/relationships/slideLayout" Target="../slideLayouts/slideLayout545.xml"/><Relationship Id="rId29" Type="http://schemas.openxmlformats.org/officeDocument/2006/relationships/slideLayout" Target="../slideLayouts/slideLayout558.xml"/><Relationship Id="rId1" Type="http://schemas.openxmlformats.org/officeDocument/2006/relationships/slideLayout" Target="../slideLayouts/slideLayout530.xml"/><Relationship Id="rId6" Type="http://schemas.openxmlformats.org/officeDocument/2006/relationships/slideLayout" Target="../slideLayouts/slideLayout535.xml"/><Relationship Id="rId11" Type="http://schemas.openxmlformats.org/officeDocument/2006/relationships/slideLayout" Target="../slideLayouts/slideLayout540.xml"/><Relationship Id="rId24" Type="http://schemas.openxmlformats.org/officeDocument/2006/relationships/slideLayout" Target="../slideLayouts/slideLayout553.xml"/><Relationship Id="rId32" Type="http://schemas.openxmlformats.org/officeDocument/2006/relationships/slideLayout" Target="../slideLayouts/slideLayout561.xml"/><Relationship Id="rId37" Type="http://schemas.openxmlformats.org/officeDocument/2006/relationships/slideLayout" Target="../slideLayouts/slideLayout566.xml"/><Relationship Id="rId40" Type="http://schemas.openxmlformats.org/officeDocument/2006/relationships/slideLayout" Target="../slideLayouts/slideLayout569.xml"/><Relationship Id="rId45" Type="http://schemas.openxmlformats.org/officeDocument/2006/relationships/image" Target="../media/image10.png"/><Relationship Id="rId5" Type="http://schemas.openxmlformats.org/officeDocument/2006/relationships/slideLayout" Target="../slideLayouts/slideLayout534.xml"/><Relationship Id="rId15" Type="http://schemas.openxmlformats.org/officeDocument/2006/relationships/slideLayout" Target="../slideLayouts/slideLayout544.xml"/><Relationship Id="rId23" Type="http://schemas.openxmlformats.org/officeDocument/2006/relationships/slideLayout" Target="../slideLayouts/slideLayout552.xml"/><Relationship Id="rId28" Type="http://schemas.openxmlformats.org/officeDocument/2006/relationships/slideLayout" Target="../slideLayouts/slideLayout557.xml"/><Relationship Id="rId36" Type="http://schemas.openxmlformats.org/officeDocument/2006/relationships/slideLayout" Target="../slideLayouts/slideLayout565.xml"/><Relationship Id="rId10" Type="http://schemas.openxmlformats.org/officeDocument/2006/relationships/slideLayout" Target="../slideLayouts/slideLayout539.xml"/><Relationship Id="rId19" Type="http://schemas.openxmlformats.org/officeDocument/2006/relationships/slideLayout" Target="../slideLayouts/slideLayout548.xml"/><Relationship Id="rId31" Type="http://schemas.openxmlformats.org/officeDocument/2006/relationships/slideLayout" Target="../slideLayouts/slideLayout560.xml"/><Relationship Id="rId44" Type="http://schemas.openxmlformats.org/officeDocument/2006/relationships/theme" Target="../theme/theme46.xml"/><Relationship Id="rId4" Type="http://schemas.openxmlformats.org/officeDocument/2006/relationships/slideLayout" Target="../slideLayouts/slideLayout533.xml"/><Relationship Id="rId9" Type="http://schemas.openxmlformats.org/officeDocument/2006/relationships/slideLayout" Target="../slideLayouts/slideLayout538.xml"/><Relationship Id="rId14" Type="http://schemas.openxmlformats.org/officeDocument/2006/relationships/slideLayout" Target="../slideLayouts/slideLayout543.xml"/><Relationship Id="rId22" Type="http://schemas.openxmlformats.org/officeDocument/2006/relationships/slideLayout" Target="../slideLayouts/slideLayout551.xml"/><Relationship Id="rId27" Type="http://schemas.openxmlformats.org/officeDocument/2006/relationships/slideLayout" Target="../slideLayouts/slideLayout556.xml"/><Relationship Id="rId30" Type="http://schemas.openxmlformats.org/officeDocument/2006/relationships/slideLayout" Target="../slideLayouts/slideLayout559.xml"/><Relationship Id="rId35" Type="http://schemas.openxmlformats.org/officeDocument/2006/relationships/slideLayout" Target="../slideLayouts/slideLayout564.xml"/><Relationship Id="rId43" Type="http://schemas.openxmlformats.org/officeDocument/2006/relationships/slideLayout" Target="../slideLayouts/slideLayout572.xml"/><Relationship Id="rId8" Type="http://schemas.openxmlformats.org/officeDocument/2006/relationships/slideLayout" Target="../slideLayouts/slideLayout537.xml"/><Relationship Id="rId3" Type="http://schemas.openxmlformats.org/officeDocument/2006/relationships/slideLayout" Target="../slideLayouts/slideLayout532.xml"/><Relationship Id="rId12" Type="http://schemas.openxmlformats.org/officeDocument/2006/relationships/slideLayout" Target="../slideLayouts/slideLayout541.xml"/><Relationship Id="rId17" Type="http://schemas.openxmlformats.org/officeDocument/2006/relationships/slideLayout" Target="../slideLayouts/slideLayout546.xml"/><Relationship Id="rId25" Type="http://schemas.openxmlformats.org/officeDocument/2006/relationships/slideLayout" Target="../slideLayouts/slideLayout554.xml"/><Relationship Id="rId33" Type="http://schemas.openxmlformats.org/officeDocument/2006/relationships/slideLayout" Target="../slideLayouts/slideLayout562.xml"/><Relationship Id="rId38" Type="http://schemas.openxmlformats.org/officeDocument/2006/relationships/slideLayout" Target="../slideLayouts/slideLayout567.xml"/><Relationship Id="rId20" Type="http://schemas.openxmlformats.org/officeDocument/2006/relationships/slideLayout" Target="../slideLayouts/slideLayout549.xml"/><Relationship Id="rId41" Type="http://schemas.openxmlformats.org/officeDocument/2006/relationships/slideLayout" Target="../slideLayouts/slideLayout570.xml"/></Relationships>
</file>

<file path=ppt/slideMasters/_rels/slideMaster4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85.xml"/><Relationship Id="rId18" Type="http://schemas.openxmlformats.org/officeDocument/2006/relationships/slideLayout" Target="../slideLayouts/slideLayout590.xml"/><Relationship Id="rId26" Type="http://schemas.openxmlformats.org/officeDocument/2006/relationships/slideLayout" Target="../slideLayouts/slideLayout598.xml"/><Relationship Id="rId39" Type="http://schemas.openxmlformats.org/officeDocument/2006/relationships/slideLayout" Target="../slideLayouts/slideLayout611.xml"/><Relationship Id="rId21" Type="http://schemas.openxmlformats.org/officeDocument/2006/relationships/slideLayout" Target="../slideLayouts/slideLayout593.xml"/><Relationship Id="rId34" Type="http://schemas.openxmlformats.org/officeDocument/2006/relationships/slideLayout" Target="../slideLayouts/slideLayout606.xml"/><Relationship Id="rId42" Type="http://schemas.openxmlformats.org/officeDocument/2006/relationships/slideLayout" Target="../slideLayouts/slideLayout614.xml"/><Relationship Id="rId7" Type="http://schemas.openxmlformats.org/officeDocument/2006/relationships/slideLayout" Target="../slideLayouts/slideLayout579.xml"/><Relationship Id="rId2" Type="http://schemas.openxmlformats.org/officeDocument/2006/relationships/slideLayout" Target="../slideLayouts/slideLayout574.xml"/><Relationship Id="rId16" Type="http://schemas.openxmlformats.org/officeDocument/2006/relationships/slideLayout" Target="../slideLayouts/slideLayout588.xml"/><Relationship Id="rId20" Type="http://schemas.openxmlformats.org/officeDocument/2006/relationships/slideLayout" Target="../slideLayouts/slideLayout592.xml"/><Relationship Id="rId29" Type="http://schemas.openxmlformats.org/officeDocument/2006/relationships/slideLayout" Target="../slideLayouts/slideLayout601.xml"/><Relationship Id="rId41" Type="http://schemas.openxmlformats.org/officeDocument/2006/relationships/slideLayout" Target="../slideLayouts/slideLayout613.xml"/><Relationship Id="rId1" Type="http://schemas.openxmlformats.org/officeDocument/2006/relationships/slideLayout" Target="../slideLayouts/slideLayout573.xml"/><Relationship Id="rId6" Type="http://schemas.openxmlformats.org/officeDocument/2006/relationships/slideLayout" Target="../slideLayouts/slideLayout578.xml"/><Relationship Id="rId11" Type="http://schemas.openxmlformats.org/officeDocument/2006/relationships/slideLayout" Target="../slideLayouts/slideLayout583.xml"/><Relationship Id="rId24" Type="http://schemas.openxmlformats.org/officeDocument/2006/relationships/slideLayout" Target="../slideLayouts/slideLayout596.xml"/><Relationship Id="rId32" Type="http://schemas.openxmlformats.org/officeDocument/2006/relationships/slideLayout" Target="../slideLayouts/slideLayout604.xml"/><Relationship Id="rId37" Type="http://schemas.openxmlformats.org/officeDocument/2006/relationships/slideLayout" Target="../slideLayouts/slideLayout609.xml"/><Relationship Id="rId40" Type="http://schemas.openxmlformats.org/officeDocument/2006/relationships/slideLayout" Target="../slideLayouts/slideLayout612.xml"/><Relationship Id="rId5" Type="http://schemas.openxmlformats.org/officeDocument/2006/relationships/slideLayout" Target="../slideLayouts/slideLayout577.xml"/><Relationship Id="rId15" Type="http://schemas.openxmlformats.org/officeDocument/2006/relationships/slideLayout" Target="../slideLayouts/slideLayout587.xml"/><Relationship Id="rId23" Type="http://schemas.openxmlformats.org/officeDocument/2006/relationships/slideLayout" Target="../slideLayouts/slideLayout595.xml"/><Relationship Id="rId28" Type="http://schemas.openxmlformats.org/officeDocument/2006/relationships/slideLayout" Target="../slideLayouts/slideLayout600.xml"/><Relationship Id="rId36" Type="http://schemas.openxmlformats.org/officeDocument/2006/relationships/slideLayout" Target="../slideLayouts/slideLayout608.xml"/><Relationship Id="rId10" Type="http://schemas.openxmlformats.org/officeDocument/2006/relationships/slideLayout" Target="../slideLayouts/slideLayout582.xml"/><Relationship Id="rId19" Type="http://schemas.openxmlformats.org/officeDocument/2006/relationships/slideLayout" Target="../slideLayouts/slideLayout591.xml"/><Relationship Id="rId31" Type="http://schemas.openxmlformats.org/officeDocument/2006/relationships/slideLayout" Target="../slideLayouts/slideLayout603.xml"/><Relationship Id="rId44" Type="http://schemas.openxmlformats.org/officeDocument/2006/relationships/image" Target="../media/image10.png"/><Relationship Id="rId4" Type="http://schemas.openxmlformats.org/officeDocument/2006/relationships/slideLayout" Target="../slideLayouts/slideLayout576.xml"/><Relationship Id="rId9" Type="http://schemas.openxmlformats.org/officeDocument/2006/relationships/slideLayout" Target="../slideLayouts/slideLayout581.xml"/><Relationship Id="rId14" Type="http://schemas.openxmlformats.org/officeDocument/2006/relationships/slideLayout" Target="../slideLayouts/slideLayout586.xml"/><Relationship Id="rId22" Type="http://schemas.openxmlformats.org/officeDocument/2006/relationships/slideLayout" Target="../slideLayouts/slideLayout594.xml"/><Relationship Id="rId27" Type="http://schemas.openxmlformats.org/officeDocument/2006/relationships/slideLayout" Target="../slideLayouts/slideLayout599.xml"/><Relationship Id="rId30" Type="http://schemas.openxmlformats.org/officeDocument/2006/relationships/slideLayout" Target="../slideLayouts/slideLayout602.xml"/><Relationship Id="rId35" Type="http://schemas.openxmlformats.org/officeDocument/2006/relationships/slideLayout" Target="../slideLayouts/slideLayout607.xml"/><Relationship Id="rId43" Type="http://schemas.openxmlformats.org/officeDocument/2006/relationships/theme" Target="../theme/theme47.xml"/><Relationship Id="rId8" Type="http://schemas.openxmlformats.org/officeDocument/2006/relationships/slideLayout" Target="../slideLayouts/slideLayout580.xml"/><Relationship Id="rId3" Type="http://schemas.openxmlformats.org/officeDocument/2006/relationships/slideLayout" Target="../slideLayouts/slideLayout575.xml"/><Relationship Id="rId12" Type="http://schemas.openxmlformats.org/officeDocument/2006/relationships/slideLayout" Target="../slideLayouts/slideLayout584.xml"/><Relationship Id="rId17" Type="http://schemas.openxmlformats.org/officeDocument/2006/relationships/slideLayout" Target="../slideLayouts/slideLayout589.xml"/><Relationship Id="rId25" Type="http://schemas.openxmlformats.org/officeDocument/2006/relationships/slideLayout" Target="../slideLayouts/slideLayout597.xml"/><Relationship Id="rId33" Type="http://schemas.openxmlformats.org/officeDocument/2006/relationships/slideLayout" Target="../slideLayouts/slideLayout605.xml"/><Relationship Id="rId38" Type="http://schemas.openxmlformats.org/officeDocument/2006/relationships/slideLayout" Target="../slideLayouts/slideLayout610.xml"/></Relationships>
</file>

<file path=ppt/slideMasters/_rels/slideMaster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7.xml"/><Relationship Id="rId2" Type="http://schemas.openxmlformats.org/officeDocument/2006/relationships/slideLayout" Target="../slideLayouts/slideLayout616.xml"/><Relationship Id="rId1" Type="http://schemas.openxmlformats.org/officeDocument/2006/relationships/slideLayout" Target="../slideLayouts/slideLayout615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theme" Target="../theme/theme48.xml"/></Relationships>
</file>

<file path=ppt/slideMasters/_rels/slideMaster4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0.xml"/><Relationship Id="rId18" Type="http://schemas.openxmlformats.org/officeDocument/2006/relationships/slideLayout" Target="../slideLayouts/slideLayout635.xml"/><Relationship Id="rId26" Type="http://schemas.openxmlformats.org/officeDocument/2006/relationships/slideLayout" Target="../slideLayouts/slideLayout643.xml"/><Relationship Id="rId39" Type="http://schemas.openxmlformats.org/officeDocument/2006/relationships/slideLayout" Target="../slideLayouts/slideLayout656.xml"/><Relationship Id="rId21" Type="http://schemas.openxmlformats.org/officeDocument/2006/relationships/slideLayout" Target="../slideLayouts/slideLayout638.xml"/><Relationship Id="rId34" Type="http://schemas.openxmlformats.org/officeDocument/2006/relationships/slideLayout" Target="../slideLayouts/slideLayout651.xml"/><Relationship Id="rId42" Type="http://schemas.openxmlformats.org/officeDocument/2006/relationships/slideLayout" Target="../slideLayouts/slideLayout659.xml"/><Relationship Id="rId7" Type="http://schemas.openxmlformats.org/officeDocument/2006/relationships/slideLayout" Target="../slideLayouts/slideLayout624.xml"/><Relationship Id="rId2" Type="http://schemas.openxmlformats.org/officeDocument/2006/relationships/slideLayout" Target="../slideLayouts/slideLayout619.xml"/><Relationship Id="rId16" Type="http://schemas.openxmlformats.org/officeDocument/2006/relationships/slideLayout" Target="../slideLayouts/slideLayout633.xml"/><Relationship Id="rId29" Type="http://schemas.openxmlformats.org/officeDocument/2006/relationships/slideLayout" Target="../slideLayouts/slideLayout646.xml"/><Relationship Id="rId1" Type="http://schemas.openxmlformats.org/officeDocument/2006/relationships/slideLayout" Target="../slideLayouts/slideLayout618.xml"/><Relationship Id="rId6" Type="http://schemas.openxmlformats.org/officeDocument/2006/relationships/slideLayout" Target="../slideLayouts/slideLayout623.xml"/><Relationship Id="rId11" Type="http://schemas.openxmlformats.org/officeDocument/2006/relationships/slideLayout" Target="../slideLayouts/slideLayout628.xml"/><Relationship Id="rId24" Type="http://schemas.openxmlformats.org/officeDocument/2006/relationships/slideLayout" Target="../slideLayouts/slideLayout641.xml"/><Relationship Id="rId32" Type="http://schemas.openxmlformats.org/officeDocument/2006/relationships/slideLayout" Target="../slideLayouts/slideLayout649.xml"/><Relationship Id="rId37" Type="http://schemas.openxmlformats.org/officeDocument/2006/relationships/slideLayout" Target="../slideLayouts/slideLayout654.xml"/><Relationship Id="rId40" Type="http://schemas.openxmlformats.org/officeDocument/2006/relationships/slideLayout" Target="../slideLayouts/slideLayout657.xml"/><Relationship Id="rId45" Type="http://schemas.openxmlformats.org/officeDocument/2006/relationships/image" Target="../media/image7.png"/><Relationship Id="rId5" Type="http://schemas.openxmlformats.org/officeDocument/2006/relationships/slideLayout" Target="../slideLayouts/slideLayout622.xml"/><Relationship Id="rId15" Type="http://schemas.openxmlformats.org/officeDocument/2006/relationships/slideLayout" Target="../slideLayouts/slideLayout632.xml"/><Relationship Id="rId23" Type="http://schemas.openxmlformats.org/officeDocument/2006/relationships/slideLayout" Target="../slideLayouts/slideLayout640.xml"/><Relationship Id="rId28" Type="http://schemas.openxmlformats.org/officeDocument/2006/relationships/slideLayout" Target="../slideLayouts/slideLayout645.xml"/><Relationship Id="rId36" Type="http://schemas.openxmlformats.org/officeDocument/2006/relationships/slideLayout" Target="../slideLayouts/slideLayout653.xml"/><Relationship Id="rId10" Type="http://schemas.openxmlformats.org/officeDocument/2006/relationships/slideLayout" Target="../slideLayouts/slideLayout627.xml"/><Relationship Id="rId19" Type="http://schemas.openxmlformats.org/officeDocument/2006/relationships/slideLayout" Target="../slideLayouts/slideLayout636.xml"/><Relationship Id="rId31" Type="http://schemas.openxmlformats.org/officeDocument/2006/relationships/slideLayout" Target="../slideLayouts/slideLayout648.xml"/><Relationship Id="rId44" Type="http://schemas.openxmlformats.org/officeDocument/2006/relationships/theme" Target="../theme/theme49.xml"/><Relationship Id="rId4" Type="http://schemas.openxmlformats.org/officeDocument/2006/relationships/slideLayout" Target="../slideLayouts/slideLayout621.xml"/><Relationship Id="rId9" Type="http://schemas.openxmlformats.org/officeDocument/2006/relationships/slideLayout" Target="../slideLayouts/slideLayout626.xml"/><Relationship Id="rId14" Type="http://schemas.openxmlformats.org/officeDocument/2006/relationships/slideLayout" Target="../slideLayouts/slideLayout631.xml"/><Relationship Id="rId22" Type="http://schemas.openxmlformats.org/officeDocument/2006/relationships/slideLayout" Target="../slideLayouts/slideLayout639.xml"/><Relationship Id="rId27" Type="http://schemas.openxmlformats.org/officeDocument/2006/relationships/slideLayout" Target="../slideLayouts/slideLayout644.xml"/><Relationship Id="rId30" Type="http://schemas.openxmlformats.org/officeDocument/2006/relationships/slideLayout" Target="../slideLayouts/slideLayout647.xml"/><Relationship Id="rId35" Type="http://schemas.openxmlformats.org/officeDocument/2006/relationships/slideLayout" Target="../slideLayouts/slideLayout652.xml"/><Relationship Id="rId43" Type="http://schemas.openxmlformats.org/officeDocument/2006/relationships/slideLayout" Target="../slideLayouts/slideLayout660.xml"/><Relationship Id="rId8" Type="http://schemas.openxmlformats.org/officeDocument/2006/relationships/slideLayout" Target="../slideLayouts/slideLayout625.xml"/><Relationship Id="rId3" Type="http://schemas.openxmlformats.org/officeDocument/2006/relationships/slideLayout" Target="../slideLayouts/slideLayout620.xml"/><Relationship Id="rId12" Type="http://schemas.openxmlformats.org/officeDocument/2006/relationships/slideLayout" Target="../slideLayouts/slideLayout629.xml"/><Relationship Id="rId17" Type="http://schemas.openxmlformats.org/officeDocument/2006/relationships/slideLayout" Target="../slideLayouts/slideLayout634.xml"/><Relationship Id="rId25" Type="http://schemas.openxmlformats.org/officeDocument/2006/relationships/slideLayout" Target="../slideLayouts/slideLayout642.xml"/><Relationship Id="rId33" Type="http://schemas.openxmlformats.org/officeDocument/2006/relationships/slideLayout" Target="../slideLayouts/slideLayout650.xml"/><Relationship Id="rId38" Type="http://schemas.openxmlformats.org/officeDocument/2006/relationships/slideLayout" Target="../slideLayouts/slideLayout655.xml"/><Relationship Id="rId20" Type="http://schemas.openxmlformats.org/officeDocument/2006/relationships/slideLayout" Target="../slideLayouts/slideLayout637.xml"/><Relationship Id="rId41" Type="http://schemas.openxmlformats.org/officeDocument/2006/relationships/slideLayout" Target="../slideLayouts/slideLayout65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5.xml"/></Relationships>
</file>

<file path=ppt/slideMasters/_rels/slideMaster5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3.xml"/><Relationship Id="rId18" Type="http://schemas.openxmlformats.org/officeDocument/2006/relationships/slideLayout" Target="../slideLayouts/slideLayout678.xml"/><Relationship Id="rId26" Type="http://schemas.openxmlformats.org/officeDocument/2006/relationships/slideLayout" Target="../slideLayouts/slideLayout686.xml"/><Relationship Id="rId39" Type="http://schemas.openxmlformats.org/officeDocument/2006/relationships/slideLayout" Target="../slideLayouts/slideLayout699.xml"/><Relationship Id="rId21" Type="http://schemas.openxmlformats.org/officeDocument/2006/relationships/slideLayout" Target="../slideLayouts/slideLayout681.xml"/><Relationship Id="rId34" Type="http://schemas.openxmlformats.org/officeDocument/2006/relationships/slideLayout" Target="../slideLayouts/slideLayout694.xml"/><Relationship Id="rId42" Type="http://schemas.openxmlformats.org/officeDocument/2006/relationships/slideLayout" Target="../slideLayouts/slideLayout702.xml"/><Relationship Id="rId7" Type="http://schemas.openxmlformats.org/officeDocument/2006/relationships/slideLayout" Target="../slideLayouts/slideLayout667.xml"/><Relationship Id="rId2" Type="http://schemas.openxmlformats.org/officeDocument/2006/relationships/slideLayout" Target="../slideLayouts/slideLayout662.xml"/><Relationship Id="rId16" Type="http://schemas.openxmlformats.org/officeDocument/2006/relationships/slideLayout" Target="../slideLayouts/slideLayout676.xml"/><Relationship Id="rId20" Type="http://schemas.openxmlformats.org/officeDocument/2006/relationships/slideLayout" Target="../slideLayouts/slideLayout680.xml"/><Relationship Id="rId29" Type="http://schemas.openxmlformats.org/officeDocument/2006/relationships/slideLayout" Target="../slideLayouts/slideLayout689.xml"/><Relationship Id="rId41" Type="http://schemas.openxmlformats.org/officeDocument/2006/relationships/slideLayout" Target="../slideLayouts/slideLayout701.xml"/><Relationship Id="rId1" Type="http://schemas.openxmlformats.org/officeDocument/2006/relationships/slideLayout" Target="../slideLayouts/slideLayout661.xml"/><Relationship Id="rId6" Type="http://schemas.openxmlformats.org/officeDocument/2006/relationships/slideLayout" Target="../slideLayouts/slideLayout666.xml"/><Relationship Id="rId11" Type="http://schemas.openxmlformats.org/officeDocument/2006/relationships/slideLayout" Target="../slideLayouts/slideLayout671.xml"/><Relationship Id="rId24" Type="http://schemas.openxmlformats.org/officeDocument/2006/relationships/slideLayout" Target="../slideLayouts/slideLayout684.xml"/><Relationship Id="rId32" Type="http://schemas.openxmlformats.org/officeDocument/2006/relationships/slideLayout" Target="../slideLayouts/slideLayout692.xml"/><Relationship Id="rId37" Type="http://schemas.openxmlformats.org/officeDocument/2006/relationships/slideLayout" Target="../slideLayouts/slideLayout697.xml"/><Relationship Id="rId40" Type="http://schemas.openxmlformats.org/officeDocument/2006/relationships/slideLayout" Target="../slideLayouts/slideLayout700.xml"/><Relationship Id="rId5" Type="http://schemas.openxmlformats.org/officeDocument/2006/relationships/slideLayout" Target="../slideLayouts/slideLayout665.xml"/><Relationship Id="rId15" Type="http://schemas.openxmlformats.org/officeDocument/2006/relationships/slideLayout" Target="../slideLayouts/slideLayout675.xml"/><Relationship Id="rId23" Type="http://schemas.openxmlformats.org/officeDocument/2006/relationships/slideLayout" Target="../slideLayouts/slideLayout683.xml"/><Relationship Id="rId28" Type="http://schemas.openxmlformats.org/officeDocument/2006/relationships/slideLayout" Target="../slideLayouts/slideLayout688.xml"/><Relationship Id="rId36" Type="http://schemas.openxmlformats.org/officeDocument/2006/relationships/slideLayout" Target="../slideLayouts/slideLayout696.xml"/><Relationship Id="rId10" Type="http://schemas.openxmlformats.org/officeDocument/2006/relationships/slideLayout" Target="../slideLayouts/slideLayout670.xml"/><Relationship Id="rId19" Type="http://schemas.openxmlformats.org/officeDocument/2006/relationships/slideLayout" Target="../slideLayouts/slideLayout679.xml"/><Relationship Id="rId31" Type="http://schemas.openxmlformats.org/officeDocument/2006/relationships/slideLayout" Target="../slideLayouts/slideLayout691.xml"/><Relationship Id="rId44" Type="http://schemas.openxmlformats.org/officeDocument/2006/relationships/image" Target="../media/image24.png"/><Relationship Id="rId4" Type="http://schemas.openxmlformats.org/officeDocument/2006/relationships/slideLayout" Target="../slideLayouts/slideLayout664.xml"/><Relationship Id="rId9" Type="http://schemas.openxmlformats.org/officeDocument/2006/relationships/slideLayout" Target="../slideLayouts/slideLayout669.xml"/><Relationship Id="rId14" Type="http://schemas.openxmlformats.org/officeDocument/2006/relationships/slideLayout" Target="../slideLayouts/slideLayout674.xml"/><Relationship Id="rId22" Type="http://schemas.openxmlformats.org/officeDocument/2006/relationships/slideLayout" Target="../slideLayouts/slideLayout682.xml"/><Relationship Id="rId27" Type="http://schemas.openxmlformats.org/officeDocument/2006/relationships/slideLayout" Target="../slideLayouts/slideLayout687.xml"/><Relationship Id="rId30" Type="http://schemas.openxmlformats.org/officeDocument/2006/relationships/slideLayout" Target="../slideLayouts/slideLayout690.xml"/><Relationship Id="rId35" Type="http://schemas.openxmlformats.org/officeDocument/2006/relationships/slideLayout" Target="../slideLayouts/slideLayout695.xml"/><Relationship Id="rId43" Type="http://schemas.openxmlformats.org/officeDocument/2006/relationships/theme" Target="../theme/theme50.xml"/><Relationship Id="rId8" Type="http://schemas.openxmlformats.org/officeDocument/2006/relationships/slideLayout" Target="../slideLayouts/slideLayout668.xml"/><Relationship Id="rId3" Type="http://schemas.openxmlformats.org/officeDocument/2006/relationships/slideLayout" Target="../slideLayouts/slideLayout663.xml"/><Relationship Id="rId12" Type="http://schemas.openxmlformats.org/officeDocument/2006/relationships/slideLayout" Target="../slideLayouts/slideLayout672.xml"/><Relationship Id="rId17" Type="http://schemas.openxmlformats.org/officeDocument/2006/relationships/slideLayout" Target="../slideLayouts/slideLayout677.xml"/><Relationship Id="rId25" Type="http://schemas.openxmlformats.org/officeDocument/2006/relationships/slideLayout" Target="../slideLayouts/slideLayout685.xml"/><Relationship Id="rId33" Type="http://schemas.openxmlformats.org/officeDocument/2006/relationships/slideLayout" Target="../slideLayouts/slideLayout693.xml"/><Relationship Id="rId38" Type="http://schemas.openxmlformats.org/officeDocument/2006/relationships/slideLayout" Target="../slideLayouts/slideLayout698.xml"/></Relationships>
</file>

<file path=ppt/slideMasters/_rels/slideMaster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05.xml"/><Relationship Id="rId2" Type="http://schemas.openxmlformats.org/officeDocument/2006/relationships/slideLayout" Target="../slideLayouts/slideLayout704.xml"/><Relationship Id="rId1" Type="http://schemas.openxmlformats.org/officeDocument/2006/relationships/slideLayout" Target="../slideLayouts/slideLayout703.xml"/><Relationship Id="rId6" Type="http://schemas.openxmlformats.org/officeDocument/2006/relationships/image" Target="../media/image10.png"/><Relationship Id="rId5" Type="http://schemas.openxmlformats.org/officeDocument/2006/relationships/theme" Target="../theme/theme51.xml"/><Relationship Id="rId4" Type="http://schemas.openxmlformats.org/officeDocument/2006/relationships/slideLayout" Target="../slideLayouts/slideLayout706.xml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4.xml"/><Relationship Id="rId3" Type="http://schemas.openxmlformats.org/officeDocument/2006/relationships/slideLayout" Target="../slideLayouts/slideLayout709.xml"/><Relationship Id="rId7" Type="http://schemas.openxmlformats.org/officeDocument/2006/relationships/slideLayout" Target="../slideLayouts/slideLayout713.xml"/><Relationship Id="rId2" Type="http://schemas.openxmlformats.org/officeDocument/2006/relationships/slideLayout" Target="../slideLayouts/slideLayout708.xml"/><Relationship Id="rId1" Type="http://schemas.openxmlformats.org/officeDocument/2006/relationships/slideLayout" Target="../slideLayouts/slideLayout707.xml"/><Relationship Id="rId6" Type="http://schemas.openxmlformats.org/officeDocument/2006/relationships/slideLayout" Target="../slideLayouts/slideLayout712.xml"/><Relationship Id="rId11" Type="http://schemas.openxmlformats.org/officeDocument/2006/relationships/image" Target="../media/image11.png"/><Relationship Id="rId5" Type="http://schemas.openxmlformats.org/officeDocument/2006/relationships/slideLayout" Target="../slideLayouts/slideLayout711.xml"/><Relationship Id="rId10" Type="http://schemas.openxmlformats.org/officeDocument/2006/relationships/theme" Target="../theme/theme52.xml"/><Relationship Id="rId4" Type="http://schemas.openxmlformats.org/officeDocument/2006/relationships/slideLayout" Target="../slideLayouts/slideLayout710.xml"/><Relationship Id="rId9" Type="http://schemas.openxmlformats.org/officeDocument/2006/relationships/slideLayout" Target="../slideLayouts/slideLayout715.xml"/></Relationships>
</file>

<file path=ppt/slideMasters/_rels/slideMaster5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8.xml"/><Relationship Id="rId18" Type="http://schemas.openxmlformats.org/officeDocument/2006/relationships/slideLayout" Target="../slideLayouts/slideLayout733.xml"/><Relationship Id="rId26" Type="http://schemas.openxmlformats.org/officeDocument/2006/relationships/slideLayout" Target="../slideLayouts/slideLayout741.xml"/><Relationship Id="rId39" Type="http://schemas.openxmlformats.org/officeDocument/2006/relationships/slideLayout" Target="../slideLayouts/slideLayout754.xml"/><Relationship Id="rId21" Type="http://schemas.openxmlformats.org/officeDocument/2006/relationships/slideLayout" Target="../slideLayouts/slideLayout736.xml"/><Relationship Id="rId34" Type="http://schemas.openxmlformats.org/officeDocument/2006/relationships/slideLayout" Target="../slideLayouts/slideLayout749.xml"/><Relationship Id="rId42" Type="http://schemas.openxmlformats.org/officeDocument/2006/relationships/slideLayout" Target="../slideLayouts/slideLayout757.xml"/><Relationship Id="rId7" Type="http://schemas.openxmlformats.org/officeDocument/2006/relationships/slideLayout" Target="../slideLayouts/slideLayout722.xml"/><Relationship Id="rId2" Type="http://schemas.openxmlformats.org/officeDocument/2006/relationships/slideLayout" Target="../slideLayouts/slideLayout717.xml"/><Relationship Id="rId16" Type="http://schemas.openxmlformats.org/officeDocument/2006/relationships/slideLayout" Target="../slideLayouts/slideLayout731.xml"/><Relationship Id="rId20" Type="http://schemas.openxmlformats.org/officeDocument/2006/relationships/slideLayout" Target="../slideLayouts/slideLayout735.xml"/><Relationship Id="rId29" Type="http://schemas.openxmlformats.org/officeDocument/2006/relationships/slideLayout" Target="../slideLayouts/slideLayout744.xml"/><Relationship Id="rId41" Type="http://schemas.openxmlformats.org/officeDocument/2006/relationships/slideLayout" Target="../slideLayouts/slideLayout756.xml"/><Relationship Id="rId1" Type="http://schemas.openxmlformats.org/officeDocument/2006/relationships/slideLayout" Target="../slideLayouts/slideLayout716.xml"/><Relationship Id="rId6" Type="http://schemas.openxmlformats.org/officeDocument/2006/relationships/slideLayout" Target="../slideLayouts/slideLayout721.xml"/><Relationship Id="rId11" Type="http://schemas.openxmlformats.org/officeDocument/2006/relationships/slideLayout" Target="../slideLayouts/slideLayout726.xml"/><Relationship Id="rId24" Type="http://schemas.openxmlformats.org/officeDocument/2006/relationships/slideLayout" Target="../slideLayouts/slideLayout739.xml"/><Relationship Id="rId32" Type="http://schemas.openxmlformats.org/officeDocument/2006/relationships/slideLayout" Target="../slideLayouts/slideLayout747.xml"/><Relationship Id="rId37" Type="http://schemas.openxmlformats.org/officeDocument/2006/relationships/slideLayout" Target="../slideLayouts/slideLayout752.xml"/><Relationship Id="rId40" Type="http://schemas.openxmlformats.org/officeDocument/2006/relationships/slideLayout" Target="../slideLayouts/slideLayout755.xml"/><Relationship Id="rId5" Type="http://schemas.openxmlformats.org/officeDocument/2006/relationships/slideLayout" Target="../slideLayouts/slideLayout720.xml"/><Relationship Id="rId15" Type="http://schemas.openxmlformats.org/officeDocument/2006/relationships/slideLayout" Target="../slideLayouts/slideLayout730.xml"/><Relationship Id="rId23" Type="http://schemas.openxmlformats.org/officeDocument/2006/relationships/slideLayout" Target="../slideLayouts/slideLayout738.xml"/><Relationship Id="rId28" Type="http://schemas.openxmlformats.org/officeDocument/2006/relationships/slideLayout" Target="../slideLayouts/slideLayout743.xml"/><Relationship Id="rId36" Type="http://schemas.openxmlformats.org/officeDocument/2006/relationships/slideLayout" Target="../slideLayouts/slideLayout751.xml"/><Relationship Id="rId10" Type="http://schemas.openxmlformats.org/officeDocument/2006/relationships/slideLayout" Target="../slideLayouts/slideLayout725.xml"/><Relationship Id="rId19" Type="http://schemas.openxmlformats.org/officeDocument/2006/relationships/slideLayout" Target="../slideLayouts/slideLayout734.xml"/><Relationship Id="rId31" Type="http://schemas.openxmlformats.org/officeDocument/2006/relationships/slideLayout" Target="../slideLayouts/slideLayout746.xml"/><Relationship Id="rId44" Type="http://schemas.openxmlformats.org/officeDocument/2006/relationships/image" Target="../media/image10.png"/><Relationship Id="rId4" Type="http://schemas.openxmlformats.org/officeDocument/2006/relationships/slideLayout" Target="../slideLayouts/slideLayout719.xml"/><Relationship Id="rId9" Type="http://schemas.openxmlformats.org/officeDocument/2006/relationships/slideLayout" Target="../slideLayouts/slideLayout724.xml"/><Relationship Id="rId14" Type="http://schemas.openxmlformats.org/officeDocument/2006/relationships/slideLayout" Target="../slideLayouts/slideLayout729.xml"/><Relationship Id="rId22" Type="http://schemas.openxmlformats.org/officeDocument/2006/relationships/slideLayout" Target="../slideLayouts/slideLayout737.xml"/><Relationship Id="rId27" Type="http://schemas.openxmlformats.org/officeDocument/2006/relationships/slideLayout" Target="../slideLayouts/slideLayout742.xml"/><Relationship Id="rId30" Type="http://schemas.openxmlformats.org/officeDocument/2006/relationships/slideLayout" Target="../slideLayouts/slideLayout745.xml"/><Relationship Id="rId35" Type="http://schemas.openxmlformats.org/officeDocument/2006/relationships/slideLayout" Target="../slideLayouts/slideLayout750.xml"/><Relationship Id="rId43" Type="http://schemas.openxmlformats.org/officeDocument/2006/relationships/theme" Target="../theme/theme53.xml"/><Relationship Id="rId8" Type="http://schemas.openxmlformats.org/officeDocument/2006/relationships/slideLayout" Target="../slideLayouts/slideLayout723.xml"/><Relationship Id="rId3" Type="http://schemas.openxmlformats.org/officeDocument/2006/relationships/slideLayout" Target="../slideLayouts/slideLayout718.xml"/><Relationship Id="rId12" Type="http://schemas.openxmlformats.org/officeDocument/2006/relationships/slideLayout" Target="../slideLayouts/slideLayout727.xml"/><Relationship Id="rId17" Type="http://schemas.openxmlformats.org/officeDocument/2006/relationships/slideLayout" Target="../slideLayouts/slideLayout732.xml"/><Relationship Id="rId25" Type="http://schemas.openxmlformats.org/officeDocument/2006/relationships/slideLayout" Target="../slideLayouts/slideLayout740.xml"/><Relationship Id="rId33" Type="http://schemas.openxmlformats.org/officeDocument/2006/relationships/slideLayout" Target="../slideLayouts/slideLayout748.xml"/><Relationship Id="rId38" Type="http://schemas.openxmlformats.org/officeDocument/2006/relationships/slideLayout" Target="../slideLayouts/slideLayout753.xml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5.xml"/><Relationship Id="rId13" Type="http://schemas.openxmlformats.org/officeDocument/2006/relationships/slideLayout" Target="../slideLayouts/slideLayout770.xml"/><Relationship Id="rId3" Type="http://schemas.openxmlformats.org/officeDocument/2006/relationships/slideLayout" Target="../slideLayouts/slideLayout760.xml"/><Relationship Id="rId7" Type="http://schemas.openxmlformats.org/officeDocument/2006/relationships/slideLayout" Target="../slideLayouts/slideLayout764.xml"/><Relationship Id="rId12" Type="http://schemas.openxmlformats.org/officeDocument/2006/relationships/slideLayout" Target="../slideLayouts/slideLayout769.xml"/><Relationship Id="rId17" Type="http://schemas.openxmlformats.org/officeDocument/2006/relationships/image" Target="../media/image13.png"/><Relationship Id="rId2" Type="http://schemas.openxmlformats.org/officeDocument/2006/relationships/slideLayout" Target="../slideLayouts/slideLayout759.xml"/><Relationship Id="rId16" Type="http://schemas.openxmlformats.org/officeDocument/2006/relationships/theme" Target="../theme/theme54.xml"/><Relationship Id="rId1" Type="http://schemas.openxmlformats.org/officeDocument/2006/relationships/slideLayout" Target="../slideLayouts/slideLayout758.xml"/><Relationship Id="rId6" Type="http://schemas.openxmlformats.org/officeDocument/2006/relationships/slideLayout" Target="../slideLayouts/slideLayout763.xml"/><Relationship Id="rId11" Type="http://schemas.openxmlformats.org/officeDocument/2006/relationships/slideLayout" Target="../slideLayouts/slideLayout768.xml"/><Relationship Id="rId5" Type="http://schemas.openxmlformats.org/officeDocument/2006/relationships/slideLayout" Target="../slideLayouts/slideLayout762.xml"/><Relationship Id="rId15" Type="http://schemas.openxmlformats.org/officeDocument/2006/relationships/slideLayout" Target="../slideLayouts/slideLayout772.xml"/><Relationship Id="rId10" Type="http://schemas.openxmlformats.org/officeDocument/2006/relationships/slideLayout" Target="../slideLayouts/slideLayout767.xml"/><Relationship Id="rId4" Type="http://schemas.openxmlformats.org/officeDocument/2006/relationships/slideLayout" Target="../slideLayouts/slideLayout761.xml"/><Relationship Id="rId9" Type="http://schemas.openxmlformats.org/officeDocument/2006/relationships/slideLayout" Target="../slideLayouts/slideLayout766.xml"/><Relationship Id="rId14" Type="http://schemas.openxmlformats.org/officeDocument/2006/relationships/slideLayout" Target="../slideLayouts/slideLayout771.xml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0.xml"/><Relationship Id="rId13" Type="http://schemas.openxmlformats.org/officeDocument/2006/relationships/slideLayout" Target="../slideLayouts/slideLayout785.xml"/><Relationship Id="rId3" Type="http://schemas.openxmlformats.org/officeDocument/2006/relationships/slideLayout" Target="../slideLayouts/slideLayout775.xml"/><Relationship Id="rId7" Type="http://schemas.openxmlformats.org/officeDocument/2006/relationships/slideLayout" Target="../slideLayouts/slideLayout779.xml"/><Relationship Id="rId12" Type="http://schemas.openxmlformats.org/officeDocument/2006/relationships/slideLayout" Target="../slideLayouts/slideLayout784.xml"/><Relationship Id="rId2" Type="http://schemas.openxmlformats.org/officeDocument/2006/relationships/slideLayout" Target="../slideLayouts/slideLayout774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773.xml"/><Relationship Id="rId6" Type="http://schemas.openxmlformats.org/officeDocument/2006/relationships/slideLayout" Target="../slideLayouts/slideLayout778.xml"/><Relationship Id="rId11" Type="http://schemas.openxmlformats.org/officeDocument/2006/relationships/slideLayout" Target="../slideLayouts/slideLayout783.xml"/><Relationship Id="rId5" Type="http://schemas.openxmlformats.org/officeDocument/2006/relationships/slideLayout" Target="../slideLayouts/slideLayout777.xml"/><Relationship Id="rId15" Type="http://schemas.openxmlformats.org/officeDocument/2006/relationships/theme" Target="../theme/theme55.xml"/><Relationship Id="rId10" Type="http://schemas.openxmlformats.org/officeDocument/2006/relationships/slideLayout" Target="../slideLayouts/slideLayout782.xml"/><Relationship Id="rId4" Type="http://schemas.openxmlformats.org/officeDocument/2006/relationships/slideLayout" Target="../slideLayouts/slideLayout776.xml"/><Relationship Id="rId9" Type="http://schemas.openxmlformats.org/officeDocument/2006/relationships/slideLayout" Target="../slideLayouts/slideLayout781.xml"/><Relationship Id="rId14" Type="http://schemas.openxmlformats.org/officeDocument/2006/relationships/slideLayout" Target="../slideLayouts/slideLayout786.xml"/></Relationships>
</file>

<file path=ppt/slideMasters/_rels/slideMaster5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99.xml"/><Relationship Id="rId18" Type="http://schemas.openxmlformats.org/officeDocument/2006/relationships/slideLayout" Target="../slideLayouts/slideLayout804.xml"/><Relationship Id="rId26" Type="http://schemas.openxmlformats.org/officeDocument/2006/relationships/slideLayout" Target="../slideLayouts/slideLayout812.xml"/><Relationship Id="rId39" Type="http://schemas.openxmlformats.org/officeDocument/2006/relationships/slideLayout" Target="../slideLayouts/slideLayout825.xml"/><Relationship Id="rId21" Type="http://schemas.openxmlformats.org/officeDocument/2006/relationships/slideLayout" Target="../slideLayouts/slideLayout807.xml"/><Relationship Id="rId34" Type="http://schemas.openxmlformats.org/officeDocument/2006/relationships/slideLayout" Target="../slideLayouts/slideLayout820.xml"/><Relationship Id="rId42" Type="http://schemas.openxmlformats.org/officeDocument/2006/relationships/slideLayout" Target="../slideLayouts/slideLayout828.xml"/><Relationship Id="rId7" Type="http://schemas.openxmlformats.org/officeDocument/2006/relationships/slideLayout" Target="../slideLayouts/slideLayout793.xml"/><Relationship Id="rId2" Type="http://schemas.openxmlformats.org/officeDocument/2006/relationships/slideLayout" Target="../slideLayouts/slideLayout788.xml"/><Relationship Id="rId16" Type="http://schemas.openxmlformats.org/officeDocument/2006/relationships/slideLayout" Target="../slideLayouts/slideLayout802.xml"/><Relationship Id="rId20" Type="http://schemas.openxmlformats.org/officeDocument/2006/relationships/slideLayout" Target="../slideLayouts/slideLayout806.xml"/><Relationship Id="rId29" Type="http://schemas.openxmlformats.org/officeDocument/2006/relationships/slideLayout" Target="../slideLayouts/slideLayout815.xml"/><Relationship Id="rId41" Type="http://schemas.openxmlformats.org/officeDocument/2006/relationships/slideLayout" Target="../slideLayouts/slideLayout827.xml"/><Relationship Id="rId1" Type="http://schemas.openxmlformats.org/officeDocument/2006/relationships/slideLayout" Target="../slideLayouts/slideLayout787.xml"/><Relationship Id="rId6" Type="http://schemas.openxmlformats.org/officeDocument/2006/relationships/slideLayout" Target="../slideLayouts/slideLayout792.xml"/><Relationship Id="rId11" Type="http://schemas.openxmlformats.org/officeDocument/2006/relationships/slideLayout" Target="../slideLayouts/slideLayout797.xml"/><Relationship Id="rId24" Type="http://schemas.openxmlformats.org/officeDocument/2006/relationships/slideLayout" Target="../slideLayouts/slideLayout810.xml"/><Relationship Id="rId32" Type="http://schemas.openxmlformats.org/officeDocument/2006/relationships/slideLayout" Target="../slideLayouts/slideLayout818.xml"/><Relationship Id="rId37" Type="http://schemas.openxmlformats.org/officeDocument/2006/relationships/slideLayout" Target="../slideLayouts/slideLayout823.xml"/><Relationship Id="rId40" Type="http://schemas.openxmlformats.org/officeDocument/2006/relationships/slideLayout" Target="../slideLayouts/slideLayout826.xml"/><Relationship Id="rId5" Type="http://schemas.openxmlformats.org/officeDocument/2006/relationships/slideLayout" Target="../slideLayouts/slideLayout791.xml"/><Relationship Id="rId15" Type="http://schemas.openxmlformats.org/officeDocument/2006/relationships/slideLayout" Target="../slideLayouts/slideLayout801.xml"/><Relationship Id="rId23" Type="http://schemas.openxmlformats.org/officeDocument/2006/relationships/slideLayout" Target="../slideLayouts/slideLayout809.xml"/><Relationship Id="rId28" Type="http://schemas.openxmlformats.org/officeDocument/2006/relationships/slideLayout" Target="../slideLayouts/slideLayout814.xml"/><Relationship Id="rId36" Type="http://schemas.openxmlformats.org/officeDocument/2006/relationships/slideLayout" Target="../slideLayouts/slideLayout822.xml"/><Relationship Id="rId10" Type="http://schemas.openxmlformats.org/officeDocument/2006/relationships/slideLayout" Target="../slideLayouts/slideLayout796.xml"/><Relationship Id="rId19" Type="http://schemas.openxmlformats.org/officeDocument/2006/relationships/slideLayout" Target="../slideLayouts/slideLayout805.xml"/><Relationship Id="rId31" Type="http://schemas.openxmlformats.org/officeDocument/2006/relationships/slideLayout" Target="../slideLayouts/slideLayout817.xml"/><Relationship Id="rId44" Type="http://schemas.openxmlformats.org/officeDocument/2006/relationships/image" Target="../media/image25.png"/><Relationship Id="rId4" Type="http://schemas.openxmlformats.org/officeDocument/2006/relationships/slideLayout" Target="../slideLayouts/slideLayout790.xml"/><Relationship Id="rId9" Type="http://schemas.openxmlformats.org/officeDocument/2006/relationships/slideLayout" Target="../slideLayouts/slideLayout795.xml"/><Relationship Id="rId14" Type="http://schemas.openxmlformats.org/officeDocument/2006/relationships/slideLayout" Target="../slideLayouts/slideLayout800.xml"/><Relationship Id="rId22" Type="http://schemas.openxmlformats.org/officeDocument/2006/relationships/slideLayout" Target="../slideLayouts/slideLayout808.xml"/><Relationship Id="rId27" Type="http://schemas.openxmlformats.org/officeDocument/2006/relationships/slideLayout" Target="../slideLayouts/slideLayout813.xml"/><Relationship Id="rId30" Type="http://schemas.openxmlformats.org/officeDocument/2006/relationships/slideLayout" Target="../slideLayouts/slideLayout816.xml"/><Relationship Id="rId35" Type="http://schemas.openxmlformats.org/officeDocument/2006/relationships/slideLayout" Target="../slideLayouts/slideLayout821.xml"/><Relationship Id="rId43" Type="http://schemas.openxmlformats.org/officeDocument/2006/relationships/theme" Target="../theme/theme56.xml"/><Relationship Id="rId8" Type="http://schemas.openxmlformats.org/officeDocument/2006/relationships/slideLayout" Target="../slideLayouts/slideLayout794.xml"/><Relationship Id="rId3" Type="http://schemas.openxmlformats.org/officeDocument/2006/relationships/slideLayout" Target="../slideLayouts/slideLayout789.xml"/><Relationship Id="rId12" Type="http://schemas.openxmlformats.org/officeDocument/2006/relationships/slideLayout" Target="../slideLayouts/slideLayout798.xml"/><Relationship Id="rId17" Type="http://schemas.openxmlformats.org/officeDocument/2006/relationships/slideLayout" Target="../slideLayouts/slideLayout803.xml"/><Relationship Id="rId25" Type="http://schemas.openxmlformats.org/officeDocument/2006/relationships/slideLayout" Target="../slideLayouts/slideLayout811.xml"/><Relationship Id="rId33" Type="http://schemas.openxmlformats.org/officeDocument/2006/relationships/slideLayout" Target="../slideLayouts/slideLayout819.xml"/><Relationship Id="rId38" Type="http://schemas.openxmlformats.org/officeDocument/2006/relationships/slideLayout" Target="../slideLayouts/slideLayout824.xml"/></Relationships>
</file>

<file path=ppt/slideMasters/_rels/slideMaster5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41.xml"/><Relationship Id="rId18" Type="http://schemas.openxmlformats.org/officeDocument/2006/relationships/slideLayout" Target="../slideLayouts/slideLayout846.xml"/><Relationship Id="rId26" Type="http://schemas.openxmlformats.org/officeDocument/2006/relationships/slideLayout" Target="../slideLayouts/slideLayout854.xml"/><Relationship Id="rId39" Type="http://schemas.openxmlformats.org/officeDocument/2006/relationships/slideLayout" Target="../slideLayouts/slideLayout867.xml"/><Relationship Id="rId21" Type="http://schemas.openxmlformats.org/officeDocument/2006/relationships/slideLayout" Target="../slideLayouts/slideLayout849.xml"/><Relationship Id="rId34" Type="http://schemas.openxmlformats.org/officeDocument/2006/relationships/slideLayout" Target="../slideLayouts/slideLayout862.xml"/><Relationship Id="rId42" Type="http://schemas.openxmlformats.org/officeDocument/2006/relationships/slideLayout" Target="../slideLayouts/slideLayout870.xml"/><Relationship Id="rId47" Type="http://schemas.openxmlformats.org/officeDocument/2006/relationships/slideLayout" Target="../slideLayouts/slideLayout875.xml"/><Relationship Id="rId7" Type="http://schemas.openxmlformats.org/officeDocument/2006/relationships/slideLayout" Target="../slideLayouts/slideLayout835.xml"/><Relationship Id="rId2" Type="http://schemas.openxmlformats.org/officeDocument/2006/relationships/slideLayout" Target="../slideLayouts/slideLayout830.xml"/><Relationship Id="rId16" Type="http://schemas.openxmlformats.org/officeDocument/2006/relationships/slideLayout" Target="../slideLayouts/slideLayout844.xml"/><Relationship Id="rId29" Type="http://schemas.openxmlformats.org/officeDocument/2006/relationships/slideLayout" Target="../slideLayouts/slideLayout857.xml"/><Relationship Id="rId11" Type="http://schemas.openxmlformats.org/officeDocument/2006/relationships/slideLayout" Target="../slideLayouts/slideLayout839.xml"/><Relationship Id="rId24" Type="http://schemas.openxmlformats.org/officeDocument/2006/relationships/slideLayout" Target="../slideLayouts/slideLayout852.xml"/><Relationship Id="rId32" Type="http://schemas.openxmlformats.org/officeDocument/2006/relationships/slideLayout" Target="../slideLayouts/slideLayout860.xml"/><Relationship Id="rId37" Type="http://schemas.openxmlformats.org/officeDocument/2006/relationships/slideLayout" Target="../slideLayouts/slideLayout865.xml"/><Relationship Id="rId40" Type="http://schemas.openxmlformats.org/officeDocument/2006/relationships/slideLayout" Target="../slideLayouts/slideLayout868.xml"/><Relationship Id="rId45" Type="http://schemas.openxmlformats.org/officeDocument/2006/relationships/slideLayout" Target="../slideLayouts/slideLayout873.xml"/><Relationship Id="rId5" Type="http://schemas.openxmlformats.org/officeDocument/2006/relationships/slideLayout" Target="../slideLayouts/slideLayout833.xml"/><Relationship Id="rId15" Type="http://schemas.openxmlformats.org/officeDocument/2006/relationships/slideLayout" Target="../slideLayouts/slideLayout843.xml"/><Relationship Id="rId23" Type="http://schemas.openxmlformats.org/officeDocument/2006/relationships/slideLayout" Target="../slideLayouts/slideLayout851.xml"/><Relationship Id="rId28" Type="http://schemas.openxmlformats.org/officeDocument/2006/relationships/slideLayout" Target="../slideLayouts/slideLayout856.xml"/><Relationship Id="rId36" Type="http://schemas.openxmlformats.org/officeDocument/2006/relationships/slideLayout" Target="../slideLayouts/slideLayout864.xml"/><Relationship Id="rId49" Type="http://schemas.openxmlformats.org/officeDocument/2006/relationships/image" Target="../media/image26.png"/><Relationship Id="rId10" Type="http://schemas.openxmlformats.org/officeDocument/2006/relationships/slideLayout" Target="../slideLayouts/slideLayout838.xml"/><Relationship Id="rId19" Type="http://schemas.openxmlformats.org/officeDocument/2006/relationships/slideLayout" Target="../slideLayouts/slideLayout847.xml"/><Relationship Id="rId31" Type="http://schemas.openxmlformats.org/officeDocument/2006/relationships/slideLayout" Target="../slideLayouts/slideLayout859.xml"/><Relationship Id="rId44" Type="http://schemas.openxmlformats.org/officeDocument/2006/relationships/slideLayout" Target="../slideLayouts/slideLayout872.xml"/><Relationship Id="rId4" Type="http://schemas.openxmlformats.org/officeDocument/2006/relationships/slideLayout" Target="../slideLayouts/slideLayout832.xml"/><Relationship Id="rId9" Type="http://schemas.openxmlformats.org/officeDocument/2006/relationships/slideLayout" Target="../slideLayouts/slideLayout837.xml"/><Relationship Id="rId14" Type="http://schemas.openxmlformats.org/officeDocument/2006/relationships/slideLayout" Target="../slideLayouts/slideLayout842.xml"/><Relationship Id="rId22" Type="http://schemas.openxmlformats.org/officeDocument/2006/relationships/slideLayout" Target="../slideLayouts/slideLayout850.xml"/><Relationship Id="rId27" Type="http://schemas.openxmlformats.org/officeDocument/2006/relationships/slideLayout" Target="../slideLayouts/slideLayout855.xml"/><Relationship Id="rId30" Type="http://schemas.openxmlformats.org/officeDocument/2006/relationships/slideLayout" Target="../slideLayouts/slideLayout858.xml"/><Relationship Id="rId35" Type="http://schemas.openxmlformats.org/officeDocument/2006/relationships/slideLayout" Target="../slideLayouts/slideLayout863.xml"/><Relationship Id="rId43" Type="http://schemas.openxmlformats.org/officeDocument/2006/relationships/slideLayout" Target="../slideLayouts/slideLayout871.xml"/><Relationship Id="rId48" Type="http://schemas.openxmlformats.org/officeDocument/2006/relationships/theme" Target="../theme/theme57.xml"/><Relationship Id="rId8" Type="http://schemas.openxmlformats.org/officeDocument/2006/relationships/slideLayout" Target="../slideLayouts/slideLayout836.xml"/><Relationship Id="rId3" Type="http://schemas.openxmlformats.org/officeDocument/2006/relationships/slideLayout" Target="../slideLayouts/slideLayout831.xml"/><Relationship Id="rId12" Type="http://schemas.openxmlformats.org/officeDocument/2006/relationships/slideLayout" Target="../slideLayouts/slideLayout840.xml"/><Relationship Id="rId17" Type="http://schemas.openxmlformats.org/officeDocument/2006/relationships/slideLayout" Target="../slideLayouts/slideLayout845.xml"/><Relationship Id="rId25" Type="http://schemas.openxmlformats.org/officeDocument/2006/relationships/slideLayout" Target="../slideLayouts/slideLayout853.xml"/><Relationship Id="rId33" Type="http://schemas.openxmlformats.org/officeDocument/2006/relationships/slideLayout" Target="../slideLayouts/slideLayout861.xml"/><Relationship Id="rId38" Type="http://schemas.openxmlformats.org/officeDocument/2006/relationships/slideLayout" Target="../slideLayouts/slideLayout866.xml"/><Relationship Id="rId46" Type="http://schemas.openxmlformats.org/officeDocument/2006/relationships/slideLayout" Target="../slideLayouts/slideLayout874.xml"/><Relationship Id="rId20" Type="http://schemas.openxmlformats.org/officeDocument/2006/relationships/slideLayout" Target="../slideLayouts/slideLayout848.xml"/><Relationship Id="rId41" Type="http://schemas.openxmlformats.org/officeDocument/2006/relationships/slideLayout" Target="../slideLayouts/slideLayout869.xml"/><Relationship Id="rId1" Type="http://schemas.openxmlformats.org/officeDocument/2006/relationships/slideLayout" Target="../slideLayouts/slideLayout829.xml"/><Relationship Id="rId6" Type="http://schemas.openxmlformats.org/officeDocument/2006/relationships/slideLayout" Target="../slideLayouts/slideLayout834.xml"/></Relationships>
</file>

<file path=ppt/slideMasters/_rels/slideMaster5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88.xml"/><Relationship Id="rId18" Type="http://schemas.openxmlformats.org/officeDocument/2006/relationships/slideLayout" Target="../slideLayouts/slideLayout893.xml"/><Relationship Id="rId26" Type="http://schemas.openxmlformats.org/officeDocument/2006/relationships/slideLayout" Target="../slideLayouts/slideLayout901.xml"/><Relationship Id="rId39" Type="http://schemas.openxmlformats.org/officeDocument/2006/relationships/slideLayout" Target="../slideLayouts/slideLayout914.xml"/><Relationship Id="rId21" Type="http://schemas.openxmlformats.org/officeDocument/2006/relationships/slideLayout" Target="../slideLayouts/slideLayout896.xml"/><Relationship Id="rId34" Type="http://schemas.openxmlformats.org/officeDocument/2006/relationships/slideLayout" Target="../slideLayouts/slideLayout909.xml"/><Relationship Id="rId42" Type="http://schemas.openxmlformats.org/officeDocument/2006/relationships/slideLayout" Target="../slideLayouts/slideLayout917.xml"/><Relationship Id="rId7" Type="http://schemas.openxmlformats.org/officeDocument/2006/relationships/slideLayout" Target="../slideLayouts/slideLayout882.xml"/><Relationship Id="rId2" Type="http://schemas.openxmlformats.org/officeDocument/2006/relationships/slideLayout" Target="../slideLayouts/slideLayout877.xml"/><Relationship Id="rId16" Type="http://schemas.openxmlformats.org/officeDocument/2006/relationships/slideLayout" Target="../slideLayouts/slideLayout891.xml"/><Relationship Id="rId20" Type="http://schemas.openxmlformats.org/officeDocument/2006/relationships/slideLayout" Target="../slideLayouts/slideLayout895.xml"/><Relationship Id="rId29" Type="http://schemas.openxmlformats.org/officeDocument/2006/relationships/slideLayout" Target="../slideLayouts/slideLayout904.xml"/><Relationship Id="rId41" Type="http://schemas.openxmlformats.org/officeDocument/2006/relationships/slideLayout" Target="../slideLayouts/slideLayout916.xml"/><Relationship Id="rId1" Type="http://schemas.openxmlformats.org/officeDocument/2006/relationships/slideLayout" Target="../slideLayouts/slideLayout876.xml"/><Relationship Id="rId6" Type="http://schemas.openxmlformats.org/officeDocument/2006/relationships/slideLayout" Target="../slideLayouts/slideLayout881.xml"/><Relationship Id="rId11" Type="http://schemas.openxmlformats.org/officeDocument/2006/relationships/slideLayout" Target="../slideLayouts/slideLayout886.xml"/><Relationship Id="rId24" Type="http://schemas.openxmlformats.org/officeDocument/2006/relationships/slideLayout" Target="../slideLayouts/slideLayout899.xml"/><Relationship Id="rId32" Type="http://schemas.openxmlformats.org/officeDocument/2006/relationships/slideLayout" Target="../slideLayouts/slideLayout907.xml"/><Relationship Id="rId37" Type="http://schemas.openxmlformats.org/officeDocument/2006/relationships/slideLayout" Target="../slideLayouts/slideLayout912.xml"/><Relationship Id="rId40" Type="http://schemas.openxmlformats.org/officeDocument/2006/relationships/slideLayout" Target="../slideLayouts/slideLayout915.xml"/><Relationship Id="rId5" Type="http://schemas.openxmlformats.org/officeDocument/2006/relationships/slideLayout" Target="../slideLayouts/slideLayout880.xml"/><Relationship Id="rId15" Type="http://schemas.openxmlformats.org/officeDocument/2006/relationships/slideLayout" Target="../slideLayouts/slideLayout890.xml"/><Relationship Id="rId23" Type="http://schemas.openxmlformats.org/officeDocument/2006/relationships/slideLayout" Target="../slideLayouts/slideLayout898.xml"/><Relationship Id="rId28" Type="http://schemas.openxmlformats.org/officeDocument/2006/relationships/slideLayout" Target="../slideLayouts/slideLayout903.xml"/><Relationship Id="rId36" Type="http://schemas.openxmlformats.org/officeDocument/2006/relationships/slideLayout" Target="../slideLayouts/slideLayout911.xml"/><Relationship Id="rId10" Type="http://schemas.openxmlformats.org/officeDocument/2006/relationships/slideLayout" Target="../slideLayouts/slideLayout885.xml"/><Relationship Id="rId19" Type="http://schemas.openxmlformats.org/officeDocument/2006/relationships/slideLayout" Target="../slideLayouts/slideLayout894.xml"/><Relationship Id="rId31" Type="http://schemas.openxmlformats.org/officeDocument/2006/relationships/slideLayout" Target="../slideLayouts/slideLayout906.xml"/><Relationship Id="rId44" Type="http://schemas.openxmlformats.org/officeDocument/2006/relationships/image" Target="../media/image10.png"/><Relationship Id="rId4" Type="http://schemas.openxmlformats.org/officeDocument/2006/relationships/slideLayout" Target="../slideLayouts/slideLayout879.xml"/><Relationship Id="rId9" Type="http://schemas.openxmlformats.org/officeDocument/2006/relationships/slideLayout" Target="../slideLayouts/slideLayout884.xml"/><Relationship Id="rId14" Type="http://schemas.openxmlformats.org/officeDocument/2006/relationships/slideLayout" Target="../slideLayouts/slideLayout889.xml"/><Relationship Id="rId22" Type="http://schemas.openxmlformats.org/officeDocument/2006/relationships/slideLayout" Target="../slideLayouts/slideLayout897.xml"/><Relationship Id="rId27" Type="http://schemas.openxmlformats.org/officeDocument/2006/relationships/slideLayout" Target="../slideLayouts/slideLayout902.xml"/><Relationship Id="rId30" Type="http://schemas.openxmlformats.org/officeDocument/2006/relationships/slideLayout" Target="../slideLayouts/slideLayout905.xml"/><Relationship Id="rId35" Type="http://schemas.openxmlformats.org/officeDocument/2006/relationships/slideLayout" Target="../slideLayouts/slideLayout910.xml"/><Relationship Id="rId43" Type="http://schemas.openxmlformats.org/officeDocument/2006/relationships/theme" Target="../theme/theme58.xml"/><Relationship Id="rId8" Type="http://schemas.openxmlformats.org/officeDocument/2006/relationships/slideLayout" Target="../slideLayouts/slideLayout883.xml"/><Relationship Id="rId3" Type="http://schemas.openxmlformats.org/officeDocument/2006/relationships/slideLayout" Target="../slideLayouts/slideLayout878.xml"/><Relationship Id="rId12" Type="http://schemas.openxmlformats.org/officeDocument/2006/relationships/slideLayout" Target="../slideLayouts/slideLayout887.xml"/><Relationship Id="rId17" Type="http://schemas.openxmlformats.org/officeDocument/2006/relationships/slideLayout" Target="../slideLayouts/slideLayout892.xml"/><Relationship Id="rId25" Type="http://schemas.openxmlformats.org/officeDocument/2006/relationships/slideLayout" Target="../slideLayouts/slideLayout900.xml"/><Relationship Id="rId33" Type="http://schemas.openxmlformats.org/officeDocument/2006/relationships/slideLayout" Target="../slideLayouts/slideLayout908.xml"/><Relationship Id="rId38" Type="http://schemas.openxmlformats.org/officeDocument/2006/relationships/slideLayout" Target="../slideLayouts/slideLayout913.xml"/></Relationships>
</file>

<file path=ppt/slideMasters/_rels/slideMaster5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5.xml"/><Relationship Id="rId3" Type="http://schemas.openxmlformats.org/officeDocument/2006/relationships/slideLayout" Target="../slideLayouts/slideLayout920.xml"/><Relationship Id="rId7" Type="http://schemas.openxmlformats.org/officeDocument/2006/relationships/slideLayout" Target="../slideLayouts/slideLayout924.xml"/><Relationship Id="rId2" Type="http://schemas.openxmlformats.org/officeDocument/2006/relationships/slideLayout" Target="../slideLayouts/slideLayout919.xml"/><Relationship Id="rId1" Type="http://schemas.openxmlformats.org/officeDocument/2006/relationships/slideLayout" Target="../slideLayouts/slideLayout918.xml"/><Relationship Id="rId6" Type="http://schemas.openxmlformats.org/officeDocument/2006/relationships/slideLayout" Target="../slideLayouts/slideLayout923.xml"/><Relationship Id="rId11" Type="http://schemas.openxmlformats.org/officeDocument/2006/relationships/image" Target="../media/image27.png"/><Relationship Id="rId5" Type="http://schemas.openxmlformats.org/officeDocument/2006/relationships/slideLayout" Target="../slideLayouts/slideLayout922.xml"/><Relationship Id="rId10" Type="http://schemas.openxmlformats.org/officeDocument/2006/relationships/theme" Target="../theme/theme59.xml"/><Relationship Id="rId4" Type="http://schemas.openxmlformats.org/officeDocument/2006/relationships/slideLayout" Target="../slideLayouts/slideLayout921.xml"/><Relationship Id="rId9" Type="http://schemas.openxmlformats.org/officeDocument/2006/relationships/slideLayout" Target="../slideLayouts/slideLayout92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30.xml"/><Relationship Id="rId9" Type="http://schemas.openxmlformats.org/officeDocument/2006/relationships/theme" Target="../theme/theme6.xml"/></Relationships>
</file>

<file path=ppt/slideMasters/_rels/slideMaster6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4.xml"/><Relationship Id="rId3" Type="http://schemas.openxmlformats.org/officeDocument/2006/relationships/slideLayout" Target="../slideLayouts/slideLayout929.xml"/><Relationship Id="rId7" Type="http://schemas.openxmlformats.org/officeDocument/2006/relationships/slideLayout" Target="../slideLayouts/slideLayout933.xml"/><Relationship Id="rId2" Type="http://schemas.openxmlformats.org/officeDocument/2006/relationships/slideLayout" Target="../slideLayouts/slideLayout928.xml"/><Relationship Id="rId1" Type="http://schemas.openxmlformats.org/officeDocument/2006/relationships/slideLayout" Target="../slideLayouts/slideLayout927.xml"/><Relationship Id="rId6" Type="http://schemas.openxmlformats.org/officeDocument/2006/relationships/slideLayout" Target="../slideLayouts/slideLayout932.xml"/><Relationship Id="rId11" Type="http://schemas.openxmlformats.org/officeDocument/2006/relationships/image" Target="../media/image28.png"/><Relationship Id="rId5" Type="http://schemas.openxmlformats.org/officeDocument/2006/relationships/slideLayout" Target="../slideLayouts/slideLayout931.xml"/><Relationship Id="rId10" Type="http://schemas.openxmlformats.org/officeDocument/2006/relationships/theme" Target="../theme/theme60.xml"/><Relationship Id="rId4" Type="http://schemas.openxmlformats.org/officeDocument/2006/relationships/slideLayout" Target="../slideLayouts/slideLayout930.xml"/><Relationship Id="rId9" Type="http://schemas.openxmlformats.org/officeDocument/2006/relationships/slideLayout" Target="../slideLayouts/slideLayout935.xml"/></Relationships>
</file>

<file path=ppt/slideMasters/_rels/slideMaster6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48.xml"/><Relationship Id="rId18" Type="http://schemas.openxmlformats.org/officeDocument/2006/relationships/slideLayout" Target="../slideLayouts/slideLayout953.xml"/><Relationship Id="rId26" Type="http://schemas.openxmlformats.org/officeDocument/2006/relationships/slideLayout" Target="../slideLayouts/slideLayout961.xml"/><Relationship Id="rId39" Type="http://schemas.openxmlformats.org/officeDocument/2006/relationships/slideLayout" Target="../slideLayouts/slideLayout974.xml"/><Relationship Id="rId21" Type="http://schemas.openxmlformats.org/officeDocument/2006/relationships/slideLayout" Target="../slideLayouts/slideLayout956.xml"/><Relationship Id="rId34" Type="http://schemas.openxmlformats.org/officeDocument/2006/relationships/slideLayout" Target="../slideLayouts/slideLayout969.xml"/><Relationship Id="rId42" Type="http://schemas.openxmlformats.org/officeDocument/2006/relationships/slideLayout" Target="../slideLayouts/slideLayout977.xml"/><Relationship Id="rId7" Type="http://schemas.openxmlformats.org/officeDocument/2006/relationships/slideLayout" Target="../slideLayouts/slideLayout942.xml"/><Relationship Id="rId2" Type="http://schemas.openxmlformats.org/officeDocument/2006/relationships/slideLayout" Target="../slideLayouts/slideLayout937.xml"/><Relationship Id="rId16" Type="http://schemas.openxmlformats.org/officeDocument/2006/relationships/slideLayout" Target="../slideLayouts/slideLayout951.xml"/><Relationship Id="rId29" Type="http://schemas.openxmlformats.org/officeDocument/2006/relationships/slideLayout" Target="../slideLayouts/slideLayout964.xml"/><Relationship Id="rId1" Type="http://schemas.openxmlformats.org/officeDocument/2006/relationships/slideLayout" Target="../slideLayouts/slideLayout936.xml"/><Relationship Id="rId6" Type="http://schemas.openxmlformats.org/officeDocument/2006/relationships/slideLayout" Target="../slideLayouts/slideLayout941.xml"/><Relationship Id="rId11" Type="http://schemas.openxmlformats.org/officeDocument/2006/relationships/slideLayout" Target="../slideLayouts/slideLayout946.xml"/><Relationship Id="rId24" Type="http://schemas.openxmlformats.org/officeDocument/2006/relationships/slideLayout" Target="../slideLayouts/slideLayout959.xml"/><Relationship Id="rId32" Type="http://schemas.openxmlformats.org/officeDocument/2006/relationships/slideLayout" Target="../slideLayouts/slideLayout967.xml"/><Relationship Id="rId37" Type="http://schemas.openxmlformats.org/officeDocument/2006/relationships/slideLayout" Target="../slideLayouts/slideLayout972.xml"/><Relationship Id="rId40" Type="http://schemas.openxmlformats.org/officeDocument/2006/relationships/slideLayout" Target="../slideLayouts/slideLayout975.xml"/><Relationship Id="rId45" Type="http://schemas.openxmlformats.org/officeDocument/2006/relationships/image" Target="../media/image29.png"/><Relationship Id="rId5" Type="http://schemas.openxmlformats.org/officeDocument/2006/relationships/slideLayout" Target="../slideLayouts/slideLayout940.xml"/><Relationship Id="rId15" Type="http://schemas.openxmlformats.org/officeDocument/2006/relationships/slideLayout" Target="../slideLayouts/slideLayout950.xml"/><Relationship Id="rId23" Type="http://schemas.openxmlformats.org/officeDocument/2006/relationships/slideLayout" Target="../slideLayouts/slideLayout958.xml"/><Relationship Id="rId28" Type="http://schemas.openxmlformats.org/officeDocument/2006/relationships/slideLayout" Target="../slideLayouts/slideLayout963.xml"/><Relationship Id="rId36" Type="http://schemas.openxmlformats.org/officeDocument/2006/relationships/slideLayout" Target="../slideLayouts/slideLayout971.xml"/><Relationship Id="rId10" Type="http://schemas.openxmlformats.org/officeDocument/2006/relationships/slideLayout" Target="../slideLayouts/slideLayout945.xml"/><Relationship Id="rId19" Type="http://schemas.openxmlformats.org/officeDocument/2006/relationships/slideLayout" Target="../slideLayouts/slideLayout954.xml"/><Relationship Id="rId31" Type="http://schemas.openxmlformats.org/officeDocument/2006/relationships/slideLayout" Target="../slideLayouts/slideLayout966.xml"/><Relationship Id="rId44" Type="http://schemas.openxmlformats.org/officeDocument/2006/relationships/theme" Target="../theme/theme61.xml"/><Relationship Id="rId4" Type="http://schemas.openxmlformats.org/officeDocument/2006/relationships/slideLayout" Target="../slideLayouts/slideLayout939.xml"/><Relationship Id="rId9" Type="http://schemas.openxmlformats.org/officeDocument/2006/relationships/slideLayout" Target="../slideLayouts/slideLayout944.xml"/><Relationship Id="rId14" Type="http://schemas.openxmlformats.org/officeDocument/2006/relationships/slideLayout" Target="../slideLayouts/slideLayout949.xml"/><Relationship Id="rId22" Type="http://schemas.openxmlformats.org/officeDocument/2006/relationships/slideLayout" Target="../slideLayouts/slideLayout957.xml"/><Relationship Id="rId27" Type="http://schemas.openxmlformats.org/officeDocument/2006/relationships/slideLayout" Target="../slideLayouts/slideLayout962.xml"/><Relationship Id="rId30" Type="http://schemas.openxmlformats.org/officeDocument/2006/relationships/slideLayout" Target="../slideLayouts/slideLayout965.xml"/><Relationship Id="rId35" Type="http://schemas.openxmlformats.org/officeDocument/2006/relationships/slideLayout" Target="../slideLayouts/slideLayout970.xml"/><Relationship Id="rId43" Type="http://schemas.openxmlformats.org/officeDocument/2006/relationships/slideLayout" Target="../slideLayouts/slideLayout978.xml"/><Relationship Id="rId8" Type="http://schemas.openxmlformats.org/officeDocument/2006/relationships/slideLayout" Target="../slideLayouts/slideLayout943.xml"/><Relationship Id="rId3" Type="http://schemas.openxmlformats.org/officeDocument/2006/relationships/slideLayout" Target="../slideLayouts/slideLayout938.xml"/><Relationship Id="rId12" Type="http://schemas.openxmlformats.org/officeDocument/2006/relationships/slideLayout" Target="../slideLayouts/slideLayout947.xml"/><Relationship Id="rId17" Type="http://schemas.openxmlformats.org/officeDocument/2006/relationships/slideLayout" Target="../slideLayouts/slideLayout952.xml"/><Relationship Id="rId25" Type="http://schemas.openxmlformats.org/officeDocument/2006/relationships/slideLayout" Target="../slideLayouts/slideLayout960.xml"/><Relationship Id="rId33" Type="http://schemas.openxmlformats.org/officeDocument/2006/relationships/slideLayout" Target="../slideLayouts/slideLayout968.xml"/><Relationship Id="rId38" Type="http://schemas.openxmlformats.org/officeDocument/2006/relationships/slideLayout" Target="../slideLayouts/slideLayout973.xml"/><Relationship Id="rId20" Type="http://schemas.openxmlformats.org/officeDocument/2006/relationships/slideLayout" Target="../slideLayouts/slideLayout955.xml"/><Relationship Id="rId41" Type="http://schemas.openxmlformats.org/officeDocument/2006/relationships/slideLayout" Target="../slideLayouts/slideLayout976.xml"/></Relationships>
</file>

<file path=ppt/slideMasters/_rels/slideMaster6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6.xml"/><Relationship Id="rId13" Type="http://schemas.openxmlformats.org/officeDocument/2006/relationships/slideLayout" Target="../slideLayouts/slideLayout991.xml"/><Relationship Id="rId18" Type="http://schemas.openxmlformats.org/officeDocument/2006/relationships/image" Target="../media/image29.png"/><Relationship Id="rId3" Type="http://schemas.openxmlformats.org/officeDocument/2006/relationships/slideLayout" Target="../slideLayouts/slideLayout981.xml"/><Relationship Id="rId7" Type="http://schemas.openxmlformats.org/officeDocument/2006/relationships/slideLayout" Target="../slideLayouts/slideLayout985.xml"/><Relationship Id="rId12" Type="http://schemas.openxmlformats.org/officeDocument/2006/relationships/slideLayout" Target="../slideLayouts/slideLayout990.xml"/><Relationship Id="rId17" Type="http://schemas.openxmlformats.org/officeDocument/2006/relationships/theme" Target="../theme/theme62.xml"/><Relationship Id="rId2" Type="http://schemas.openxmlformats.org/officeDocument/2006/relationships/slideLayout" Target="../slideLayouts/slideLayout980.xml"/><Relationship Id="rId16" Type="http://schemas.openxmlformats.org/officeDocument/2006/relationships/slideLayout" Target="../slideLayouts/slideLayout994.xml"/><Relationship Id="rId1" Type="http://schemas.openxmlformats.org/officeDocument/2006/relationships/slideLayout" Target="../slideLayouts/slideLayout979.xml"/><Relationship Id="rId6" Type="http://schemas.openxmlformats.org/officeDocument/2006/relationships/slideLayout" Target="../slideLayouts/slideLayout984.xml"/><Relationship Id="rId11" Type="http://schemas.openxmlformats.org/officeDocument/2006/relationships/slideLayout" Target="../slideLayouts/slideLayout989.xml"/><Relationship Id="rId5" Type="http://schemas.openxmlformats.org/officeDocument/2006/relationships/slideLayout" Target="../slideLayouts/slideLayout983.xml"/><Relationship Id="rId15" Type="http://schemas.openxmlformats.org/officeDocument/2006/relationships/slideLayout" Target="../slideLayouts/slideLayout993.xml"/><Relationship Id="rId10" Type="http://schemas.openxmlformats.org/officeDocument/2006/relationships/slideLayout" Target="../slideLayouts/slideLayout988.xml"/><Relationship Id="rId4" Type="http://schemas.openxmlformats.org/officeDocument/2006/relationships/slideLayout" Target="../slideLayouts/slideLayout982.xml"/><Relationship Id="rId9" Type="http://schemas.openxmlformats.org/officeDocument/2006/relationships/slideLayout" Target="../slideLayouts/slideLayout987.xml"/><Relationship Id="rId14" Type="http://schemas.openxmlformats.org/officeDocument/2006/relationships/slideLayout" Target="../slideLayouts/slideLayout992.xml"/></Relationships>
</file>

<file path=ppt/slideMasters/_rels/slideMaster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97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996.xml"/><Relationship Id="rId1" Type="http://schemas.openxmlformats.org/officeDocument/2006/relationships/slideLayout" Target="../slideLayouts/slideLayout995.xml"/><Relationship Id="rId6" Type="http://schemas.openxmlformats.org/officeDocument/2006/relationships/image" Target="../media/image12.png"/><Relationship Id="rId5" Type="http://schemas.openxmlformats.org/officeDocument/2006/relationships/theme" Target="../theme/theme63.xml"/><Relationship Id="rId4" Type="http://schemas.openxmlformats.org/officeDocument/2006/relationships/slideLayout" Target="../slideLayouts/slideLayout998.xml"/></Relationships>
</file>

<file path=ppt/slideMasters/_rels/slideMaster6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6.xml"/><Relationship Id="rId13" Type="http://schemas.openxmlformats.org/officeDocument/2006/relationships/slideLayout" Target="../slideLayouts/slideLayout1011.xml"/><Relationship Id="rId18" Type="http://schemas.openxmlformats.org/officeDocument/2006/relationships/image" Target="../media/image29.png"/><Relationship Id="rId3" Type="http://schemas.openxmlformats.org/officeDocument/2006/relationships/slideLayout" Target="../slideLayouts/slideLayout1001.xml"/><Relationship Id="rId7" Type="http://schemas.openxmlformats.org/officeDocument/2006/relationships/slideLayout" Target="../slideLayouts/slideLayout1005.xml"/><Relationship Id="rId12" Type="http://schemas.openxmlformats.org/officeDocument/2006/relationships/slideLayout" Target="../slideLayouts/slideLayout1010.xml"/><Relationship Id="rId17" Type="http://schemas.openxmlformats.org/officeDocument/2006/relationships/theme" Target="../theme/theme64.xml"/><Relationship Id="rId2" Type="http://schemas.openxmlformats.org/officeDocument/2006/relationships/slideLayout" Target="../slideLayouts/slideLayout1000.xml"/><Relationship Id="rId16" Type="http://schemas.openxmlformats.org/officeDocument/2006/relationships/slideLayout" Target="../slideLayouts/slideLayout1014.xml"/><Relationship Id="rId1" Type="http://schemas.openxmlformats.org/officeDocument/2006/relationships/slideLayout" Target="../slideLayouts/slideLayout999.xml"/><Relationship Id="rId6" Type="http://schemas.openxmlformats.org/officeDocument/2006/relationships/slideLayout" Target="../slideLayouts/slideLayout1004.xml"/><Relationship Id="rId11" Type="http://schemas.openxmlformats.org/officeDocument/2006/relationships/slideLayout" Target="../slideLayouts/slideLayout1009.xml"/><Relationship Id="rId5" Type="http://schemas.openxmlformats.org/officeDocument/2006/relationships/slideLayout" Target="../slideLayouts/slideLayout1003.xml"/><Relationship Id="rId15" Type="http://schemas.openxmlformats.org/officeDocument/2006/relationships/slideLayout" Target="../slideLayouts/slideLayout1013.xml"/><Relationship Id="rId10" Type="http://schemas.openxmlformats.org/officeDocument/2006/relationships/slideLayout" Target="../slideLayouts/slideLayout1008.xml"/><Relationship Id="rId4" Type="http://schemas.openxmlformats.org/officeDocument/2006/relationships/slideLayout" Target="../slideLayouts/slideLayout1002.xml"/><Relationship Id="rId9" Type="http://schemas.openxmlformats.org/officeDocument/2006/relationships/slideLayout" Target="../slideLayouts/slideLayout1007.xml"/><Relationship Id="rId14" Type="http://schemas.openxmlformats.org/officeDocument/2006/relationships/slideLayout" Target="../slideLayouts/slideLayout1012.xml"/></Relationships>
</file>

<file path=ppt/slideMasters/_rels/slideMaster6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2.xml"/><Relationship Id="rId3" Type="http://schemas.openxmlformats.org/officeDocument/2006/relationships/slideLayout" Target="../slideLayouts/slideLayout1017.xml"/><Relationship Id="rId7" Type="http://schemas.openxmlformats.org/officeDocument/2006/relationships/slideLayout" Target="../slideLayouts/slideLayout1021.xml"/><Relationship Id="rId2" Type="http://schemas.openxmlformats.org/officeDocument/2006/relationships/slideLayout" Target="../slideLayouts/slideLayout1016.xml"/><Relationship Id="rId1" Type="http://schemas.openxmlformats.org/officeDocument/2006/relationships/slideLayout" Target="../slideLayouts/slideLayout1015.xml"/><Relationship Id="rId6" Type="http://schemas.openxmlformats.org/officeDocument/2006/relationships/slideLayout" Target="../slideLayouts/slideLayout1020.xml"/><Relationship Id="rId11" Type="http://schemas.openxmlformats.org/officeDocument/2006/relationships/image" Target="../media/image30.png"/><Relationship Id="rId5" Type="http://schemas.openxmlformats.org/officeDocument/2006/relationships/slideLayout" Target="../slideLayouts/slideLayout1019.xml"/><Relationship Id="rId10" Type="http://schemas.openxmlformats.org/officeDocument/2006/relationships/theme" Target="../theme/theme65.xml"/><Relationship Id="rId4" Type="http://schemas.openxmlformats.org/officeDocument/2006/relationships/slideLayout" Target="../slideLayouts/slideLayout1018.xml"/><Relationship Id="rId9" Type="http://schemas.openxmlformats.org/officeDocument/2006/relationships/slideLayout" Target="../slideLayouts/slideLayout1023.xml"/></Relationships>
</file>

<file path=ppt/slideMasters/_rels/slideMaster6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1.xml"/><Relationship Id="rId3" Type="http://schemas.openxmlformats.org/officeDocument/2006/relationships/slideLayout" Target="../slideLayouts/slideLayout1026.xml"/><Relationship Id="rId7" Type="http://schemas.openxmlformats.org/officeDocument/2006/relationships/slideLayout" Target="../slideLayouts/slideLayout1030.xml"/><Relationship Id="rId12" Type="http://schemas.openxmlformats.org/officeDocument/2006/relationships/image" Target="../media/image30.png"/><Relationship Id="rId2" Type="http://schemas.openxmlformats.org/officeDocument/2006/relationships/slideLayout" Target="../slideLayouts/slideLayout1025.xml"/><Relationship Id="rId1" Type="http://schemas.openxmlformats.org/officeDocument/2006/relationships/slideLayout" Target="../slideLayouts/slideLayout1024.xml"/><Relationship Id="rId6" Type="http://schemas.openxmlformats.org/officeDocument/2006/relationships/slideLayout" Target="../slideLayouts/slideLayout1029.xml"/><Relationship Id="rId11" Type="http://schemas.openxmlformats.org/officeDocument/2006/relationships/theme" Target="../theme/theme66.xml"/><Relationship Id="rId5" Type="http://schemas.openxmlformats.org/officeDocument/2006/relationships/slideLayout" Target="../slideLayouts/slideLayout1028.xml"/><Relationship Id="rId10" Type="http://schemas.openxmlformats.org/officeDocument/2006/relationships/slideLayout" Target="../slideLayouts/slideLayout1033.xml"/><Relationship Id="rId4" Type="http://schemas.openxmlformats.org/officeDocument/2006/relationships/slideLayout" Target="../slideLayouts/slideLayout1027.xml"/><Relationship Id="rId9" Type="http://schemas.openxmlformats.org/officeDocument/2006/relationships/slideLayout" Target="../slideLayouts/slideLayout1032.xml"/></Relationships>
</file>

<file path=ppt/slideMasters/_rels/slideMaster6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1.xml"/><Relationship Id="rId3" Type="http://schemas.openxmlformats.org/officeDocument/2006/relationships/slideLayout" Target="../slideLayouts/slideLayout1036.xml"/><Relationship Id="rId7" Type="http://schemas.openxmlformats.org/officeDocument/2006/relationships/slideLayout" Target="../slideLayouts/slideLayout1040.xml"/><Relationship Id="rId2" Type="http://schemas.openxmlformats.org/officeDocument/2006/relationships/slideLayout" Target="../slideLayouts/slideLayout1035.xml"/><Relationship Id="rId1" Type="http://schemas.openxmlformats.org/officeDocument/2006/relationships/slideLayout" Target="../slideLayouts/slideLayout1034.xml"/><Relationship Id="rId6" Type="http://schemas.openxmlformats.org/officeDocument/2006/relationships/slideLayout" Target="../slideLayouts/slideLayout1039.xml"/><Relationship Id="rId11" Type="http://schemas.openxmlformats.org/officeDocument/2006/relationships/image" Target="../media/image30.png"/><Relationship Id="rId5" Type="http://schemas.openxmlformats.org/officeDocument/2006/relationships/slideLayout" Target="../slideLayouts/slideLayout1038.xml"/><Relationship Id="rId10" Type="http://schemas.openxmlformats.org/officeDocument/2006/relationships/theme" Target="../theme/theme67.xml"/><Relationship Id="rId4" Type="http://schemas.openxmlformats.org/officeDocument/2006/relationships/slideLayout" Target="../slideLayouts/slideLayout1037.xml"/><Relationship Id="rId9" Type="http://schemas.openxmlformats.org/officeDocument/2006/relationships/slideLayout" Target="../slideLayouts/slideLayout1042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40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9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8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835824"/>
            <a:ext cx="9144000" cy="3664745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2" tIns="45660" rIns="91322" bIns="45660" rtlCol="0" anchor="ctr"/>
          <a:lstStyle/>
          <a:p>
            <a:pPr algn="ctr"/>
            <a:endParaRPr lang="en-IN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35696" y="1491631"/>
            <a:ext cx="6851104" cy="1537878"/>
          </a:xfrm>
          <a:prstGeom prst="rect">
            <a:avLst/>
          </a:prstGeom>
        </p:spPr>
        <p:txBody>
          <a:bodyPr vert="horz" lIns="91322" tIns="45660" rIns="91322" bIns="45660" rtlCol="0" anchor="b">
            <a:noAutofit/>
          </a:bodyPr>
          <a:lstStyle/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s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35696" y="3029508"/>
            <a:ext cx="6851104" cy="568356"/>
          </a:xfrm>
          <a:prstGeom prst="rect">
            <a:avLst/>
          </a:prstGeom>
        </p:spPr>
        <p:txBody>
          <a:bodyPr vert="horz" lIns="91322" tIns="45660" rIns="91322" bIns="45660" rtlCol="0" anchor="b">
            <a:noAutofit/>
          </a:bodyPr>
          <a:lstStyle/>
          <a:p>
            <a:pPr lvl="0"/>
            <a:r>
              <a:rPr lang="en-US" dirty="0"/>
              <a:t>Click to edit master subtitle style</a:t>
            </a:r>
          </a:p>
        </p:txBody>
      </p:sp>
      <p:pic>
        <p:nvPicPr>
          <p:cNvPr id="8" name="Picture 2" descr="F:\InfoCepts_logo\InfoCepts Logo_Blue_PN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333819"/>
            <a:ext cx="2304256" cy="163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9" r="39342" b="11228"/>
          <a:stretch/>
        </p:blipFill>
        <p:spPr>
          <a:xfrm>
            <a:off x="3394" y="843578"/>
            <a:ext cx="5648761" cy="3672409"/>
          </a:xfrm>
          <a:prstGeom prst="rect">
            <a:avLst/>
          </a:prstGeom>
        </p:spPr>
      </p:pic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 lIns="91322" tIns="45660" rIns="91322" bIns="45660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67544" y="4640473"/>
            <a:ext cx="2448272" cy="307655"/>
          </a:xfrm>
          <a:prstGeom prst="rect">
            <a:avLst/>
          </a:prstGeom>
          <a:noFill/>
        </p:spPr>
        <p:txBody>
          <a:bodyPr wrap="square" lIns="91322" tIns="45660" rIns="91322" bIns="45660" rtlCol="0" anchor="b">
            <a:spAutoFit/>
          </a:bodyPr>
          <a:lstStyle/>
          <a:p>
            <a:pPr algn="l"/>
            <a:r>
              <a:rPr lang="en-IN" sz="1400" b="1" i="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</p:spTree>
    <p:extLst>
      <p:ext uri="{BB962C8B-B14F-4D97-AF65-F5344CB8AC3E}">
        <p14:creationId xmlns:p14="http://schemas.microsoft.com/office/powerpoint/2010/main" val="1911844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08" r:id="rId2"/>
    <p:sldLayoutId id="2147483691" r:id="rId3"/>
  </p:sldLayoutIdLst>
  <p:hf hdr="0" ftr="0" dt="0"/>
  <p:txStyles>
    <p:titleStyle>
      <a:lvl1pPr algn="r" defTabSz="913227" rtl="0" eaLnBrk="1" latinLnBrk="0" hangingPunct="1">
        <a:spcBef>
          <a:spcPct val="0"/>
        </a:spcBef>
        <a:buNone/>
        <a:defRPr sz="4500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0" indent="0" algn="r" defTabSz="913227" rtl="0" eaLnBrk="1" latinLnBrk="0" hangingPunct="1">
        <a:spcBef>
          <a:spcPct val="20000"/>
        </a:spcBef>
        <a:buFont typeface="Arial" pitchFamily="34" charset="0"/>
        <a:buNone/>
        <a:defRPr sz="2400" kern="1200">
          <a:solidFill>
            <a:schemeClr val="tx2">
              <a:lumMod val="20000"/>
              <a:lumOff val="80000"/>
            </a:schemeClr>
          </a:solidFill>
          <a:latin typeface="+mj-lt"/>
          <a:ea typeface="+mn-ea"/>
          <a:cs typeface="+mn-cs"/>
        </a:defRPr>
      </a:lvl1pPr>
      <a:lvl2pPr marL="741995" indent="-285386" algn="l" defTabSz="913227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532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145" indent="-228306" algn="l" defTabSz="91322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4760" indent="-228306" algn="l" defTabSz="91322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1374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7988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4598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213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15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27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38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51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65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82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92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06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2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902" tIns="45451" rIns="90902" bIns="45451" numCol="1" rtlCol="0" anchor="t" anchorCtr="0" compatLnSpc="1">
            <a:prstTxWarp prst="textNoShape">
              <a:avLst/>
            </a:prstTxWarp>
          </a:bodyPr>
          <a:lstStyle/>
          <a:p>
            <a:pPr defTabSz="909020"/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8" y="4867918"/>
            <a:ext cx="1257591" cy="245678"/>
          </a:xfrm>
          <a:prstGeom prst="rect">
            <a:avLst/>
          </a:prstGeom>
          <a:noFill/>
        </p:spPr>
        <p:txBody>
          <a:bodyPr wrap="none" lIns="90902" tIns="45451" rIns="90902" bIns="45451" rtlCol="0">
            <a:spAutoFit/>
          </a:bodyPr>
          <a:lstStyle/>
          <a:p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58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1"/>
            <a:ext cx="8229600" cy="648072"/>
          </a:xfrm>
          <a:prstGeom prst="rect">
            <a:avLst/>
          </a:prstGeom>
        </p:spPr>
        <p:txBody>
          <a:bodyPr vert="horz" lIns="90902" tIns="45451" rIns="90902" bIns="45451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6"/>
            <a:ext cx="8229600" cy="3394472"/>
          </a:xfrm>
          <a:prstGeom prst="rect">
            <a:avLst/>
          </a:prstGeom>
        </p:spPr>
        <p:txBody>
          <a:bodyPr vert="horz" lIns="90902" tIns="45451" rIns="90902" bIns="4545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360"/>
            <a:ext cx="360040" cy="193724"/>
          </a:xfrm>
          <a:prstGeom prst="rect">
            <a:avLst/>
          </a:prstGeom>
        </p:spPr>
        <p:txBody>
          <a:bodyPr lIns="90902" tIns="45451" rIns="90902" bIns="45451"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7" y="4894009"/>
            <a:ext cx="360040" cy="193724"/>
          </a:xfrm>
          <a:prstGeom prst="rect">
            <a:avLst/>
          </a:prstGeom>
        </p:spPr>
        <p:txBody>
          <a:bodyPr lIns="90902" tIns="45451" rIns="90902" bIns="45451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50" y="4855039"/>
            <a:ext cx="2578613" cy="19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250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</p:sldLayoutIdLst>
  <p:hf hdr="0" dt="0"/>
  <p:txStyles>
    <p:titleStyle>
      <a:lvl1pPr algn="l" defTabSz="909020" rtl="0" eaLnBrk="1" latinLnBrk="0" hangingPunct="1">
        <a:spcBef>
          <a:spcPct val="0"/>
        </a:spcBef>
        <a:buNone/>
        <a:defRPr sz="27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0882" indent="-340882" algn="l" defTabSz="90902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4069" indent="-284069" algn="l" defTabSz="90902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39731" indent="-227256" algn="l" defTabSz="90902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4863" indent="-227256" algn="l" defTabSz="804863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5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69993" indent="-227256" algn="l" defTabSz="90902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499807" indent="-227256" algn="l" defTabSz="90902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54317" indent="-227256" algn="l" defTabSz="90902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08827" indent="-227256" algn="l" defTabSz="90902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63338" indent="-227256" algn="l" defTabSz="90902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90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510" algn="l" defTabSz="9090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9020" algn="l" defTabSz="9090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531" algn="l" defTabSz="9090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8041" algn="l" defTabSz="9090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2551" algn="l" defTabSz="9090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7062" algn="l" defTabSz="9090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1572" algn="l" defTabSz="9090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6083" algn="l" defTabSz="9090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2" y="4868110"/>
            <a:ext cx="12586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58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3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50" y="4855231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980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9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9625" indent="-228600" algn="l" defTabSz="809625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63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2" y="4868110"/>
            <a:ext cx="12586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58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3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dirty="0">
                <a:solidFill>
                  <a:prstClr val="white"/>
                </a:solidFill>
                <a:latin typeface="Calibri"/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50" y="4855231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730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9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9625" indent="-228600" algn="l" defTabSz="809625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63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012" y="840510"/>
            <a:ext cx="9155013" cy="3678869"/>
          </a:xfrm>
          <a:prstGeom prst="rect">
            <a:avLst/>
          </a:prstGeom>
        </p:spPr>
      </p:pic>
      <p:sp>
        <p:nvSpPr>
          <p:cNvPr id="28691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2339753" y="2647560"/>
            <a:ext cx="6408712" cy="950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IN" dirty="0"/>
              <a:t>Your Sub headline will go here</a:t>
            </a:r>
          </a:p>
        </p:txBody>
      </p:sp>
      <p:sp>
        <p:nvSpPr>
          <p:cNvPr id="28689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39752" y="1513529"/>
            <a:ext cx="6408712" cy="1134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IN" dirty="0"/>
              <a:t>Divider slide headlines </a:t>
            </a:r>
          </a:p>
          <a:p>
            <a:pPr lvl="0"/>
            <a:r>
              <a:rPr lang="en-IN" dirty="0"/>
              <a:t>will goes here</a:t>
            </a:r>
          </a:p>
        </p:txBody>
      </p:sp>
      <p:pic>
        <p:nvPicPr>
          <p:cNvPr id="7" name="Picture 2" descr="F:\InfoCepts_logo\InfoCepts Logo_Blue_PNG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333819"/>
            <a:ext cx="2304256" cy="163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67544" y="4640430"/>
            <a:ext cx="2448272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sz="1400" dirty="0">
                <a:solidFill>
                  <a:srgbClr val="000000">
                    <a:lumMod val="50000"/>
                    <a:lumOff val="50000"/>
                  </a:srgb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</p:spTree>
    <p:extLst>
      <p:ext uri="{BB962C8B-B14F-4D97-AF65-F5344CB8AC3E}">
        <p14:creationId xmlns:p14="http://schemas.microsoft.com/office/powerpoint/2010/main" val="1107836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4269" r:id="rId2"/>
  </p:sldLayoutIdLst>
  <p:hf hdr="0" ftr="0" dt="0"/>
  <p:txStyles>
    <p:titleStyle>
      <a:lvl1pPr marL="0" indent="0" algn="r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Wingdings" pitchFamily="2" charset="2"/>
        <a:buNone/>
        <a:defRPr sz="2400" b="0" baseline="0">
          <a:solidFill>
            <a:srgbClr val="CBEC78"/>
          </a:solidFill>
          <a:latin typeface="Calibri" pitchFamily="34" charset="0"/>
          <a:ea typeface="Open Sans" pitchFamily="34" charset="0"/>
          <a:cs typeface="Calibri" pitchFamily="34" charset="0"/>
        </a:defRPr>
      </a:lvl1pPr>
      <a:lvl2pPr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2pPr>
      <a:lvl3pPr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3pPr>
      <a:lvl4pPr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4pPr>
      <a:lvl5pPr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5pPr>
      <a:lvl6pPr marL="457200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6pPr>
      <a:lvl7pPr marL="914400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7pPr>
      <a:lvl8pPr marL="1371600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8pPr>
      <a:lvl9pPr marL="1828800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9pPr>
    </p:titleStyle>
    <p:bodyStyle>
      <a:lvl1pPr marL="342900" marR="0" indent="-342900" algn="r" defTabSz="914400" rtl="0" eaLnBrk="1" fontAlgn="base" latinLnBrk="0" hangingPunct="1">
        <a:lnSpc>
          <a:spcPct val="100000"/>
        </a:lnSpc>
        <a:spcBef>
          <a:spcPts val="0"/>
        </a:spcBef>
        <a:spcAft>
          <a:spcPct val="0"/>
        </a:spcAft>
        <a:buClrTx/>
        <a:buSzTx/>
        <a:buFontTx/>
        <a:buNone/>
        <a:tabLst/>
        <a:defRPr lang="en-IN" sz="4500" b="0" baseline="0" dirty="0" smtClean="0">
          <a:solidFill>
            <a:schemeClr val="bg1"/>
          </a:solidFill>
          <a:latin typeface="Calibri Light" pitchFamily="34" charset="0"/>
          <a:ea typeface="Open Sans" pitchFamily="34" charset="0"/>
          <a:cs typeface="Calibri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835824"/>
            <a:ext cx="9144000" cy="3664745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35696" y="1491630"/>
            <a:ext cx="6851104" cy="153787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s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35696" y="3029508"/>
            <a:ext cx="6851104" cy="56835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lvl="0"/>
            <a:r>
              <a:rPr lang="en-US" dirty="0"/>
              <a:t>Click to edit master subtitle style</a:t>
            </a:r>
          </a:p>
        </p:txBody>
      </p:sp>
      <p:pic>
        <p:nvPicPr>
          <p:cNvPr id="8" name="Picture 2" descr="F:\InfoCepts_logo\InfoCepts Logo_Blue_PN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333819"/>
            <a:ext cx="2304256" cy="163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9" r="39342" b="11228"/>
          <a:stretch/>
        </p:blipFill>
        <p:spPr>
          <a:xfrm>
            <a:off x="3394" y="843563"/>
            <a:ext cx="5648761" cy="3672409"/>
          </a:xfrm>
          <a:prstGeom prst="rect">
            <a:avLst/>
          </a:prstGeom>
        </p:spPr>
      </p:pic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#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67544" y="4640430"/>
            <a:ext cx="2448272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IN" sz="1400" dirty="0">
                <a:solidFill>
                  <a:srgbClr val="262626">
                    <a:lumMod val="50000"/>
                    <a:lumOff val="50000"/>
                  </a:srgb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</p:spTree>
    <p:extLst>
      <p:ext uri="{BB962C8B-B14F-4D97-AF65-F5344CB8AC3E}">
        <p14:creationId xmlns:p14="http://schemas.microsoft.com/office/powerpoint/2010/main" val="2133701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</p:sldLayoutIdLst>
  <p:hf hdr="0" ftr="0" dt="0"/>
  <p:txStyles>
    <p:titleStyle>
      <a:lvl1pPr algn="r" defTabSz="914400" rtl="0" eaLnBrk="1" latinLnBrk="0" hangingPunct="1">
        <a:spcBef>
          <a:spcPct val="0"/>
        </a:spcBef>
        <a:buNone/>
        <a:defRPr sz="4500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0" indent="0" algn="r" defTabSz="914400" rtl="0" eaLnBrk="1" latinLnBrk="0" hangingPunct="1">
        <a:spcBef>
          <a:spcPct val="20000"/>
        </a:spcBef>
        <a:buFont typeface="Arial" pitchFamily="34" charset="0"/>
        <a:buNone/>
        <a:defRPr sz="2400" kern="1200">
          <a:solidFill>
            <a:schemeClr val="tx2">
              <a:lumMod val="20000"/>
              <a:lumOff val="8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2" y="4868110"/>
            <a:ext cx="12586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58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3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50" y="4855231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553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9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9625" indent="-228600" algn="l" defTabSz="809625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63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012" y="840510"/>
            <a:ext cx="9155013" cy="3678869"/>
          </a:xfrm>
          <a:prstGeom prst="rect">
            <a:avLst/>
          </a:prstGeom>
        </p:spPr>
      </p:pic>
      <p:sp>
        <p:nvSpPr>
          <p:cNvPr id="28691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2339753" y="2647560"/>
            <a:ext cx="6408712" cy="950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IN" dirty="0"/>
              <a:t>Your Sub headline will go here</a:t>
            </a:r>
          </a:p>
        </p:txBody>
      </p:sp>
      <p:sp>
        <p:nvSpPr>
          <p:cNvPr id="28689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39752" y="1513529"/>
            <a:ext cx="6408712" cy="1134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IN" dirty="0"/>
              <a:t>Divider slide headlines </a:t>
            </a:r>
          </a:p>
          <a:p>
            <a:pPr lvl="0"/>
            <a:r>
              <a:rPr lang="en-IN" dirty="0"/>
              <a:t>will goes here</a:t>
            </a:r>
          </a:p>
        </p:txBody>
      </p:sp>
      <p:pic>
        <p:nvPicPr>
          <p:cNvPr id="7" name="Picture 2" descr="F:\InfoCepts_logo\InfoCepts Logo_Blue_PNG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333819"/>
            <a:ext cx="2304256" cy="163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67544" y="4640430"/>
            <a:ext cx="2448272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IN" sz="1400" dirty="0">
                <a:solidFill>
                  <a:srgbClr val="000000">
                    <a:lumMod val="50000"/>
                    <a:lumOff val="50000"/>
                  </a:srgb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</p:spTree>
    <p:extLst>
      <p:ext uri="{BB962C8B-B14F-4D97-AF65-F5344CB8AC3E}">
        <p14:creationId xmlns:p14="http://schemas.microsoft.com/office/powerpoint/2010/main" val="2162410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</p:sldLayoutIdLst>
  <p:hf hdr="0" ftr="0" dt="0"/>
  <p:txStyles>
    <p:titleStyle>
      <a:lvl1pPr marL="0" indent="0" algn="r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Wingdings" pitchFamily="2" charset="2"/>
        <a:buNone/>
        <a:defRPr sz="2400" b="0" baseline="0">
          <a:solidFill>
            <a:srgbClr val="CBEC78"/>
          </a:solidFill>
          <a:latin typeface="Calibri" pitchFamily="34" charset="0"/>
          <a:ea typeface="Open Sans" pitchFamily="34" charset="0"/>
          <a:cs typeface="Calibri" pitchFamily="34" charset="0"/>
        </a:defRPr>
      </a:lvl1pPr>
      <a:lvl2pPr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2pPr>
      <a:lvl3pPr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3pPr>
      <a:lvl4pPr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4pPr>
      <a:lvl5pPr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5pPr>
      <a:lvl6pPr marL="457200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6pPr>
      <a:lvl7pPr marL="914400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7pPr>
      <a:lvl8pPr marL="1371600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8pPr>
      <a:lvl9pPr marL="1828800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9pPr>
    </p:titleStyle>
    <p:bodyStyle>
      <a:lvl1pPr marL="342900" marR="0" indent="-342900" algn="r" defTabSz="914400" rtl="0" eaLnBrk="1" fontAlgn="base" latinLnBrk="0" hangingPunct="1">
        <a:lnSpc>
          <a:spcPct val="100000"/>
        </a:lnSpc>
        <a:spcBef>
          <a:spcPts val="0"/>
        </a:spcBef>
        <a:spcAft>
          <a:spcPct val="0"/>
        </a:spcAft>
        <a:buClrTx/>
        <a:buSzTx/>
        <a:buFontTx/>
        <a:buNone/>
        <a:tabLst/>
        <a:defRPr lang="en-IN" sz="4500" b="0" baseline="0" dirty="0" smtClean="0">
          <a:solidFill>
            <a:schemeClr val="bg1"/>
          </a:solidFill>
          <a:latin typeface="Calibri Light" pitchFamily="34" charset="0"/>
          <a:ea typeface="Open Sans" pitchFamily="34" charset="0"/>
          <a:cs typeface="Calibri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2" y="4868110"/>
            <a:ext cx="12586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58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3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dirty="0">
                <a:solidFill>
                  <a:prstClr val="white"/>
                </a:solidFill>
                <a:latin typeface="Calibri"/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50" y="4855231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524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9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9625" indent="-228600" algn="l" defTabSz="809625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63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2" y="4868110"/>
            <a:ext cx="12586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58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3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50" y="4855231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705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6" r:id="rId2"/>
    <p:sldLayoutId id="2147483907" r:id="rId3"/>
    <p:sldLayoutId id="2147483908" r:id="rId4"/>
    <p:sldLayoutId id="2147483909" r:id="rId5"/>
    <p:sldLayoutId id="2147483910" r:id="rId6"/>
    <p:sldLayoutId id="2147483911" r:id="rId7"/>
    <p:sldLayoutId id="2147483912" r:id="rId8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9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9625" indent="-228600" algn="l" defTabSz="809625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63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22" tIns="45660" rIns="91322" bIns="4566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5" y="4867919"/>
            <a:ext cx="1258440" cy="246100"/>
          </a:xfrm>
          <a:prstGeom prst="rect">
            <a:avLst/>
          </a:prstGeom>
          <a:noFill/>
        </p:spPr>
        <p:txBody>
          <a:bodyPr wrap="none" lIns="91322" tIns="45660" rIns="91322" bIns="45660" rtlCol="0">
            <a:spAutoFit/>
          </a:bodyPr>
          <a:lstStyle/>
          <a:p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58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322" tIns="45660" rIns="91322" bIns="4566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65"/>
            <a:ext cx="8229600" cy="3394472"/>
          </a:xfrm>
          <a:prstGeom prst="rect">
            <a:avLst/>
          </a:prstGeom>
        </p:spPr>
        <p:txBody>
          <a:bodyPr vert="horz" lIns="91322" tIns="45660" rIns="91322" bIns="4566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 lIns="91322" tIns="45660" rIns="91322" bIns="45660"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 lIns="91322" tIns="45660" rIns="91322" bIns="45660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50" y="4855223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527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  <p:sldLayoutId id="2147483981" r:id="rId5"/>
    <p:sldLayoutId id="2147483982" r:id="rId6"/>
    <p:sldLayoutId id="2147483983" r:id="rId7"/>
    <p:sldLayoutId id="2147483984" r:id="rId8"/>
    <p:sldLayoutId id="2147483985" r:id="rId9"/>
  </p:sldLayoutIdLst>
  <p:hf hdr="0" dt="0"/>
  <p:txStyles>
    <p:titleStyle>
      <a:lvl1pPr algn="l" defTabSz="913227" rtl="0" eaLnBrk="1" latinLnBrk="0" hangingPunct="1">
        <a:spcBef>
          <a:spcPct val="0"/>
        </a:spcBef>
        <a:buNone/>
        <a:defRPr sz="28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457" indent="-342457" algn="l" defTabSz="913227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386" indent="-285386" algn="l" defTabSz="913227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226" indent="-228306" algn="l" defTabSz="913227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8583" indent="-228306" algn="l" defTabSz="808583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4945" indent="-228306" algn="l" defTabSz="913227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1374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7988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4598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213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15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27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38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51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65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82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92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06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22" tIns="45660" rIns="91322" bIns="456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32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1800" b="1" i="0" u="none" strike="noStrike" cap="none" normalizeH="0" baseline="0" dirty="0">
              <a:ln>
                <a:noFill/>
              </a:ln>
              <a:solidFill>
                <a:srgbClr val="0065A4"/>
              </a:solidFill>
              <a:effectLst/>
              <a:latin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5" y="4867919"/>
            <a:ext cx="1258440" cy="246100"/>
          </a:xfrm>
          <a:prstGeom prst="rect">
            <a:avLst/>
          </a:prstGeom>
          <a:noFill/>
        </p:spPr>
        <p:txBody>
          <a:bodyPr wrap="none" lIns="91322" tIns="45660" rIns="91322" bIns="45660" rtlCol="0">
            <a:spAutoFit/>
          </a:bodyPr>
          <a:lstStyle/>
          <a:p>
            <a:r>
              <a:rPr lang="en-IN" sz="1000" b="1" dirty="0">
                <a:solidFill>
                  <a:schemeClr val="bg1">
                    <a:lumMod val="85000"/>
                  </a:scheme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58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322" tIns="45660" rIns="91322" bIns="4566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65"/>
            <a:ext cx="8229600" cy="3394472"/>
          </a:xfrm>
          <a:prstGeom prst="rect">
            <a:avLst/>
          </a:prstGeom>
        </p:spPr>
        <p:txBody>
          <a:bodyPr vert="horz" lIns="91322" tIns="45660" rIns="91322" bIns="4566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 lIns="91322" tIns="45660" rIns="91322" bIns="45660"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dirty="0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 lIns="91322" tIns="45660" rIns="91322" bIns="45660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50" y="4855243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721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7" r:id="rId8"/>
    <p:sldLayoutId id="2147483995" r:id="rId9"/>
    <p:sldLayoutId id="2147484268" r:id="rId10"/>
  </p:sldLayoutIdLst>
  <p:hf hdr="0" dt="0"/>
  <p:txStyles>
    <p:titleStyle>
      <a:lvl1pPr algn="l" defTabSz="913227" rtl="0" eaLnBrk="1" latinLnBrk="0" hangingPunct="1">
        <a:spcBef>
          <a:spcPct val="0"/>
        </a:spcBef>
        <a:buNone/>
        <a:defRPr sz="28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457" indent="-342457" algn="l" defTabSz="913227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386" indent="-285386" algn="l" defTabSz="913227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226" indent="-228306" algn="l" defTabSz="913227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8583" indent="-228306" algn="l" defTabSz="808583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4945" indent="-228306" algn="l" defTabSz="913227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1374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7988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4598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213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15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27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38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51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65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82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92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06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2" y="4868090"/>
            <a:ext cx="12586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58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3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dirty="0">
                <a:solidFill>
                  <a:prstClr val="white"/>
                </a:solidFill>
                <a:latin typeface="Calibri"/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50" y="4855211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735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  <p:sldLayoutId id="2147483990" r:id="rId4"/>
    <p:sldLayoutId id="2147483991" r:id="rId5"/>
    <p:sldLayoutId id="2147483992" r:id="rId6"/>
    <p:sldLayoutId id="2147483993" r:id="rId7"/>
    <p:sldLayoutId id="2147483994" r:id="rId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9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9625" indent="-228600" algn="l" defTabSz="809625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63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B5BBBD-1E48-4546-BAD6-4A93BD36607E}" type="datetimeFigureOut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4-09-2019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12FD69-7138-4005-8F81-283F3E26F70A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3636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5" r:id="rId1"/>
    <p:sldLayoutId id="2147484076" r:id="rId2"/>
    <p:sldLayoutId id="2147484077" r:id="rId3"/>
    <p:sldLayoutId id="2147484078" r:id="rId4"/>
    <p:sldLayoutId id="2147484079" r:id="rId5"/>
    <p:sldLayoutId id="2147484080" r:id="rId6"/>
    <p:sldLayoutId id="2147484081" r:id="rId7"/>
    <p:sldLayoutId id="2147484082" r:id="rId8"/>
    <p:sldLayoutId id="2147484083" r:id="rId9"/>
    <p:sldLayoutId id="2147484084" r:id="rId10"/>
    <p:sldLayoutId id="214748408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2" y="4868012"/>
            <a:ext cx="12586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58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3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50" y="4855133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780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7" r:id="rId1"/>
    <p:sldLayoutId id="2147484088" r:id="rId2"/>
    <p:sldLayoutId id="2147484089" r:id="rId3"/>
    <p:sldLayoutId id="2147484090" r:id="rId4"/>
    <p:sldLayoutId id="2147484091" r:id="rId5"/>
    <p:sldLayoutId id="2147484092" r:id="rId6"/>
    <p:sldLayoutId id="2147484093" r:id="rId7"/>
    <p:sldLayoutId id="2147484094" r:id="rId8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9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9625" indent="-228600" algn="l" defTabSz="809625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63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91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358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89B3AD5B-B557-46F6-9214-8264A2607926}" type="datetimeFigureOut">
              <a:rPr lang="en-IN" b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4-09-2019</a:t>
            </a:fld>
            <a:endParaRPr lang="en-IN" b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358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IN" b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358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799AB88-B23C-4D06-AD6A-85285D6B4FB9}" type="slidenum">
              <a:rPr lang="en-IN" b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IN" b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81873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9" r:id="rId1"/>
    <p:sldLayoutId id="2147484140" r:id="rId2"/>
    <p:sldLayoutId id="2147484141" r:id="rId3"/>
    <p:sldLayoutId id="2147484142" r:id="rId4"/>
    <p:sldLayoutId id="2147484143" r:id="rId5"/>
    <p:sldLayoutId id="2147484144" r:id="rId6"/>
    <p:sldLayoutId id="2147484145" r:id="rId7"/>
    <p:sldLayoutId id="2147484146" r:id="rId8"/>
    <p:sldLayoutId id="2147484147" r:id="rId9"/>
    <p:sldLayoutId id="2147484148" r:id="rId10"/>
    <p:sldLayoutId id="214748414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2" y="4868012"/>
            <a:ext cx="12586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58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3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50" y="4855133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09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1" r:id="rId1"/>
    <p:sldLayoutId id="2147484152" r:id="rId2"/>
    <p:sldLayoutId id="2147484153" r:id="rId3"/>
    <p:sldLayoutId id="2147484154" r:id="rId4"/>
    <p:sldLayoutId id="2147484155" r:id="rId5"/>
    <p:sldLayoutId id="2147484156" r:id="rId6"/>
    <p:sldLayoutId id="2147484157" r:id="rId7"/>
    <p:sldLayoutId id="2147484158" r:id="rId8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9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9625" indent="-228600" algn="l" defTabSz="809625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63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2" y="4839622"/>
            <a:ext cx="12586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58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1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3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6380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36" y="4849374"/>
            <a:ext cx="2044111" cy="210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170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2" r:id="rId1"/>
    <p:sldLayoutId id="2147484173" r:id="rId2"/>
    <p:sldLayoutId id="2147484174" r:id="rId3"/>
    <p:sldLayoutId id="2147484175" r:id="rId4"/>
    <p:sldLayoutId id="2147484176" r:id="rId5"/>
    <p:sldLayoutId id="2147484177" r:id="rId6"/>
    <p:sldLayoutId id="2147484178" r:id="rId7"/>
    <p:sldLayoutId id="2147484179" r:id="rId8"/>
    <p:sldLayoutId id="2147484180" r:id="rId9"/>
    <p:sldLayoutId id="2147484181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9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9625" indent="-228600" algn="l" defTabSz="809625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63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023" b="16727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bject 4"/>
          <p:cNvSpPr/>
          <p:nvPr/>
        </p:nvSpPr>
        <p:spPr>
          <a:xfrm>
            <a:off x="731873" y="700089"/>
            <a:ext cx="3976687" cy="3959225"/>
          </a:xfrm>
          <a:custGeom>
            <a:avLst/>
            <a:gdLst/>
            <a:ahLst/>
            <a:cxnLst/>
            <a:rect l="l" t="t" r="r" b="b"/>
            <a:pathLst>
              <a:path w="4269105" h="3721100">
                <a:moveTo>
                  <a:pt x="4268685" y="3720871"/>
                </a:moveTo>
                <a:lnTo>
                  <a:pt x="0" y="3720871"/>
                </a:lnTo>
                <a:lnTo>
                  <a:pt x="0" y="0"/>
                </a:lnTo>
                <a:lnTo>
                  <a:pt x="4268685" y="0"/>
                </a:lnTo>
                <a:lnTo>
                  <a:pt x="4268685" y="3720871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0" tIns="0" rIns="0" bIns="0"/>
          <a:lstStyle/>
          <a:p>
            <a:pPr>
              <a:defRPr/>
            </a:pPr>
            <a:endParaRPr dirty="0">
              <a:solidFill>
                <a:prstClr val="black"/>
              </a:solidFill>
            </a:endParaRPr>
          </a:p>
        </p:txBody>
      </p:sp>
      <p:pic>
        <p:nvPicPr>
          <p:cNvPr id="4100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213" y="1131888"/>
            <a:ext cx="2193925" cy="201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1" name="Title Placeholder 1"/>
          <p:cNvSpPr>
            <a:spLocks noGrp="1"/>
          </p:cNvSpPr>
          <p:nvPr>
            <p:ph type="title"/>
          </p:nvPr>
        </p:nvSpPr>
        <p:spPr bwMode="auto">
          <a:xfrm>
            <a:off x="1008063" y="1779609"/>
            <a:ext cx="3371850" cy="201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over Slide</a:t>
            </a:r>
          </a:p>
        </p:txBody>
      </p:sp>
      <p:sp>
        <p:nvSpPr>
          <p:cNvPr id="410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008071" y="3867150"/>
            <a:ext cx="3444875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3778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1" r:id="rId1"/>
  </p:sldLayoutIdLst>
  <p:txStyles>
    <p:titleStyle>
      <a:lvl1pPr algn="l" rtl="0" fontAlgn="base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 Light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 Light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 Light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 Light" pitchFamily="34" charset="0"/>
        </a:defRPr>
      </a:lvl9pPr>
    </p:titleStyle>
    <p:bodyStyle>
      <a:lvl1pPr algn="l" rtl="0" fontAlgn="base">
        <a:spcBef>
          <a:spcPct val="20000"/>
        </a:spcBef>
        <a:spcAft>
          <a:spcPct val="0"/>
        </a:spcAft>
        <a:buFont typeface="Arial" charset="0"/>
        <a:defRPr sz="1200" kern="1200">
          <a:solidFill>
            <a:schemeClr val="tx1"/>
          </a:solidFill>
          <a:latin typeface="+mj-lt"/>
          <a:ea typeface="+mn-ea"/>
          <a:cs typeface="+mn-cs"/>
        </a:defRPr>
      </a:lvl1pPr>
      <a:lvl2pPr marL="457200" algn="l" rtl="0" fontAlgn="base">
        <a:spcBef>
          <a:spcPct val="20000"/>
        </a:spcBef>
        <a:spcAft>
          <a:spcPct val="0"/>
        </a:spcAft>
        <a:buFont typeface="Arial" charset="0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charset="0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fontAlgn="base">
        <a:spcBef>
          <a:spcPct val="20000"/>
        </a:spcBef>
        <a:spcAft>
          <a:spcPct val="0"/>
        </a:spcAft>
        <a:buFont typeface="Arial" charset="0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fontAlgn="base">
        <a:spcBef>
          <a:spcPct val="20000"/>
        </a:spcBef>
        <a:spcAft>
          <a:spcPct val="0"/>
        </a:spcAft>
        <a:buFont typeface="Arial" charset="0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4"/>
          <p:cNvSpPr>
            <a:spLocks noChangeArrowheads="1"/>
          </p:cNvSpPr>
          <p:nvPr/>
        </p:nvSpPr>
        <p:spPr bwMode="auto">
          <a:xfrm>
            <a:off x="0" y="4765719"/>
            <a:ext cx="9144000" cy="377825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dirty="0">
              <a:solidFill>
                <a:srgbClr val="0065A4"/>
              </a:solidFill>
              <a:cs typeface="Arial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800" y="209594"/>
            <a:ext cx="8280400" cy="6143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800" y="842964"/>
            <a:ext cx="8280400" cy="34718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endParaRPr lang="en-US" dirty="0"/>
          </a:p>
        </p:txBody>
      </p:sp>
      <p:sp>
        <p:nvSpPr>
          <p:cNvPr id="1029" name="TextBox 50"/>
          <p:cNvSpPr txBox="1">
            <a:spLocks noChangeArrowheads="1"/>
          </p:cNvSpPr>
          <p:nvPr/>
        </p:nvSpPr>
        <p:spPr bwMode="auto">
          <a:xfrm>
            <a:off x="7308875" y="4803819"/>
            <a:ext cx="122822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en-US" sz="1000" b="0" dirty="0">
                <a:solidFill>
                  <a:srgbClr val="D9D9D9"/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52" name="Straight Connector 51"/>
          <p:cNvCxnSpPr/>
          <p:nvPr/>
        </p:nvCxnSpPr>
        <p:spPr bwMode="auto">
          <a:xfrm>
            <a:off x="8604250" y="4889544"/>
            <a:ext cx="0" cy="920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31" name="Picture 5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2400" y="4765676"/>
            <a:ext cx="2553542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Slide Number Placeholder 3"/>
          <p:cNvSpPr txBox="1">
            <a:spLocks/>
          </p:cNvSpPr>
          <p:nvPr/>
        </p:nvSpPr>
        <p:spPr>
          <a:xfrm>
            <a:off x="8623388" y="4834836"/>
            <a:ext cx="360363" cy="19367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07400EA1-762A-4FF6-8A70-4141B3AE7845}" type="slidenum">
              <a:rPr lang="en-US" smtClean="0">
                <a:solidFill>
                  <a:prstClr val="white"/>
                </a:solidFill>
                <a:latin typeface="Calibri"/>
              </a:rPr>
              <a:pPr>
                <a:defRPr/>
              </a:pPr>
              <a:t>‹#›</a:t>
            </a:fld>
            <a:endParaRPr lang="en-IN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99420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3" r:id="rId1"/>
    <p:sldLayoutId id="2147484274" r:id="rId2"/>
    <p:sldLayoutId id="2147484275" r:id="rId3"/>
    <p:sldLayoutId id="2147484276" r:id="rId4"/>
    <p:sldLayoutId id="2147484277" r:id="rId5"/>
    <p:sldLayoutId id="2147484278" r:id="rId6"/>
    <p:sldLayoutId id="2147484279" r:id="rId7"/>
    <p:sldLayoutId id="2147484280" r:id="rId8"/>
    <p:sldLayoutId id="2147484281" r:id="rId9"/>
    <p:sldLayoutId id="2147484282" r:id="rId10"/>
    <p:sldLayoutId id="2147484283" r:id="rId11"/>
    <p:sldLayoutId id="2147484284" r:id="rId12"/>
    <p:sldLayoutId id="2147484285" r:id="rId13"/>
    <p:sldLayoutId id="2147484286" r:id="rId14"/>
    <p:sldLayoutId id="2147484287" r:id="rId15"/>
    <p:sldLayoutId id="2147484288" r:id="rId16"/>
    <p:sldLayoutId id="2147484289" r:id="rId17"/>
    <p:sldLayoutId id="2147484290" r:id="rId18"/>
    <p:sldLayoutId id="2147484291" r:id="rId19"/>
    <p:sldLayoutId id="2147484292" r:id="rId20"/>
    <p:sldLayoutId id="2147484293" r:id="rId21"/>
    <p:sldLayoutId id="2147484294" r:id="rId22"/>
    <p:sldLayoutId id="2147484295" r:id="rId23"/>
    <p:sldLayoutId id="2147484296" r:id="rId24"/>
    <p:sldLayoutId id="2147484297" r:id="rId25"/>
    <p:sldLayoutId id="2147484298" r:id="rId26"/>
    <p:sldLayoutId id="2147484299" r:id="rId27"/>
    <p:sldLayoutId id="2147484300" r:id="rId28"/>
    <p:sldLayoutId id="2147484301" r:id="rId29"/>
    <p:sldLayoutId id="2147484302" r:id="rId30"/>
    <p:sldLayoutId id="2147484303" r:id="rId31"/>
    <p:sldLayoutId id="2147484304" r:id="rId32"/>
    <p:sldLayoutId id="2147484305" r:id="rId33"/>
    <p:sldLayoutId id="2147484306" r:id="rId34"/>
    <p:sldLayoutId id="2147484307" r:id="rId35"/>
    <p:sldLayoutId id="2147484308" r:id="rId36"/>
    <p:sldLayoutId id="2147484309" r:id="rId37"/>
    <p:sldLayoutId id="2147484310" r:id="rId38"/>
    <p:sldLayoutId id="2147484311" r:id="rId39"/>
    <p:sldLayoutId id="2147484312" r:id="rId40"/>
    <p:sldLayoutId id="2147484313" r:id="rId41"/>
    <p:sldLayoutId id="2147484314" r:id="rId42"/>
    <p:sldLayoutId id="2147484615" r:id="rId43"/>
    <p:sldLayoutId id="2147484896" r:id="rId44"/>
  </p:sldLayoutIdLst>
  <p:txStyles>
    <p:titleStyle>
      <a:lvl1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 kern="800" spc="-40">
          <a:solidFill>
            <a:srgbClr val="0065A4"/>
          </a:solidFill>
          <a:latin typeface="+mj-lt"/>
          <a:ea typeface="+mj-ea"/>
          <a:cs typeface="+mj-cs"/>
        </a:defRPr>
      </a:lvl1pPr>
      <a:lvl2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2pPr>
      <a:lvl3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3pPr>
      <a:lvl4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4pPr>
      <a:lvl5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5pPr>
      <a:lvl6pPr marL="4572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6pPr>
      <a:lvl7pPr marL="9144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7pPr>
      <a:lvl8pPr marL="13716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8pPr>
      <a:lvl9pPr marL="18288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9pPr>
    </p:titleStyle>
    <p:bodyStyle>
      <a:lvl1pPr marL="228600" indent="-228600" algn="l" defTabSz="912813" rtl="0" eaLnBrk="1" fontAlgn="base" hangingPunct="1">
        <a:spcBef>
          <a:spcPct val="20000"/>
        </a:spcBef>
        <a:spcAft>
          <a:spcPct val="0"/>
        </a:spcAft>
        <a:buFont typeface="Calibri" pitchFamily="34" charset="0"/>
        <a:buAutoNum type="arabicPeriod"/>
        <a:defRPr sz="1200" kern="800" spc="-10">
          <a:solidFill>
            <a:srgbClr val="414043"/>
          </a:solidFill>
          <a:latin typeface="+mn-lt"/>
          <a:ea typeface="+mn-ea"/>
          <a:cs typeface="+mn-cs"/>
        </a:defRPr>
      </a:lvl1pPr>
      <a:lvl2pPr marL="342900" indent="-171450" algn="l" defTabSz="912813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200" kern="800">
          <a:solidFill>
            <a:srgbClr val="414043"/>
          </a:solidFill>
          <a:latin typeface="+mn-lt"/>
          <a:ea typeface="+mn-ea"/>
          <a:cs typeface="+mn-cs"/>
        </a:defRPr>
      </a:lvl2pPr>
      <a:lvl3pPr marL="51435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200" kern="800">
          <a:solidFill>
            <a:srgbClr val="414043"/>
          </a:solidFill>
          <a:latin typeface="+mn-lt"/>
          <a:ea typeface="+mn-ea"/>
          <a:cs typeface="+mn-cs"/>
        </a:defRPr>
      </a:lvl3pPr>
      <a:lvl4pPr marL="68580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 kern="800">
          <a:solidFill>
            <a:srgbClr val="414043"/>
          </a:solidFill>
          <a:latin typeface="+mn-lt"/>
          <a:ea typeface="+mn-ea"/>
          <a:cs typeface="+mn-cs"/>
        </a:defRPr>
      </a:lvl4pPr>
      <a:lvl5pPr marL="85725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»"/>
        <a:defRPr sz="1200" kern="800">
          <a:solidFill>
            <a:srgbClr val="414043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4" y="4867962"/>
            <a:ext cx="990977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sz="75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08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3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sz="600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>
                <a:solidFill>
                  <a:prstClr val="white"/>
                </a:solidFill>
                <a:latin typeface="Calibri"/>
              </a:rPr>
              <a:t>&lt;#&gt;</a:t>
            </a:r>
            <a:endParaRPr lang="en-IN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50" y="4855083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12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6" r:id="rId1"/>
    <p:sldLayoutId id="2147484317" r:id="rId2"/>
    <p:sldLayoutId id="2147484318" r:id="rId3"/>
    <p:sldLayoutId id="2147484319" r:id="rId4"/>
    <p:sldLayoutId id="2147484320" r:id="rId5"/>
    <p:sldLayoutId id="2147484321" r:id="rId6"/>
    <p:sldLayoutId id="2147484322" r:id="rId7"/>
    <p:sldLayoutId id="2147484323" r:id="rId8"/>
  </p:sldLayoutIdLst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214313" indent="-214313" algn="l" defTabSz="6858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3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407194" indent="-171450" algn="l" defTabSz="6858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3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607219" indent="-171450" algn="l" defTabSz="607219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807244" indent="-171450" algn="l" defTabSz="6858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0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5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Placeholder 1"/>
          <p:cNvSpPr>
            <a:spLocks noGrp="1"/>
          </p:cNvSpPr>
          <p:nvPr>
            <p:ph type="title"/>
          </p:nvPr>
        </p:nvSpPr>
        <p:spPr bwMode="auto">
          <a:xfrm>
            <a:off x="368312" y="1276350"/>
            <a:ext cx="5986463" cy="237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Your headline will go here</a:t>
            </a:r>
          </a:p>
        </p:txBody>
      </p:sp>
      <p:sp>
        <p:nvSpPr>
          <p:cNvPr id="1024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68312" y="3651252"/>
            <a:ext cx="5986463" cy="64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Your subtitle will go here</a:t>
            </a:r>
          </a:p>
        </p:txBody>
      </p:sp>
      <p:pic>
        <p:nvPicPr>
          <p:cNvPr id="10246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342" t="3000" r="31570" b="16322"/>
          <a:stretch/>
        </p:blipFill>
        <p:spPr bwMode="auto">
          <a:xfrm>
            <a:off x="4859339" y="-55562"/>
            <a:ext cx="4249166" cy="519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F:\InfoCepts_logo\InfoCepts Logo_Blue_PNG.png"/>
          <p:cNvPicPr>
            <a:picLocks noChangeAspect="1" noChangeArrowheads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409306"/>
            <a:ext cx="2304256" cy="217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13476" y="4629194"/>
            <a:ext cx="14666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prstClr val="white"/>
                </a:solidFill>
                <a:latin typeface="Calibri"/>
                <a:cs typeface="Arial" charset="0"/>
              </a:rPr>
              <a:t>www.infocepts.com</a:t>
            </a:r>
          </a:p>
        </p:txBody>
      </p:sp>
    </p:spTree>
    <p:extLst>
      <p:ext uri="{BB962C8B-B14F-4D97-AF65-F5344CB8AC3E}">
        <p14:creationId xmlns:p14="http://schemas.microsoft.com/office/powerpoint/2010/main" val="277267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4" r:id="rId1"/>
    <p:sldLayoutId id="2147484335" r:id="rId2"/>
    <p:sldLayoutId id="2147484336" r:id="rId3"/>
    <p:sldLayoutId id="2147484337" r:id="rId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+mj-lt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Calibri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Calibri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Calibri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Calibri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Calibri" pitchFamily="34" charset="0"/>
        </a:defRPr>
      </a:lvl9pPr>
    </p:titleStyle>
    <p:bodyStyle>
      <a:lvl1pPr marL="0" indent="0" algn="l" rtl="0" eaLnBrk="0" fontAlgn="base" hangingPunct="0">
        <a:spcBef>
          <a:spcPct val="20000"/>
        </a:spcBef>
        <a:spcAft>
          <a:spcPct val="0"/>
        </a:spcAft>
        <a:buNone/>
        <a:defRPr sz="2000">
          <a:solidFill>
            <a:schemeClr val="bg1"/>
          </a:solidFill>
          <a:latin typeface="+mj-lt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bg1"/>
          </a:solidFill>
          <a:latin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bg1"/>
          </a:solidFill>
          <a:latin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bg1"/>
          </a:solidFill>
          <a:latin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bg1"/>
          </a:solidFill>
          <a:latin typeface="Arial" charset="0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bg1"/>
          </a:solidFill>
          <a:latin typeface="Arial" charset="0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bg1"/>
          </a:solidFill>
          <a:latin typeface="Arial" charset="0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bg1"/>
          </a:solidFill>
          <a:latin typeface="Arial" charset="0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bg1"/>
          </a:solidFill>
          <a:latin typeface="Arial" charset="0"/>
        </a:defRPr>
      </a:lvl9pPr>
    </p:bodyStyle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012" y="840510"/>
            <a:ext cx="9155013" cy="3678869"/>
          </a:xfrm>
          <a:prstGeom prst="rect">
            <a:avLst/>
          </a:prstGeom>
        </p:spPr>
      </p:pic>
      <p:sp>
        <p:nvSpPr>
          <p:cNvPr id="28691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2339753" y="2647560"/>
            <a:ext cx="6408712" cy="950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22" tIns="45660" rIns="91322" bIns="4566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IN" dirty="0"/>
              <a:t>Your Sub headline will go here</a:t>
            </a:r>
          </a:p>
        </p:txBody>
      </p:sp>
      <p:sp>
        <p:nvSpPr>
          <p:cNvPr id="28689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39752" y="1513529"/>
            <a:ext cx="6408712" cy="1134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22" tIns="45660" rIns="91322" bIns="4566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IN" dirty="0"/>
              <a:t>Divider slide headlines </a:t>
            </a:r>
          </a:p>
          <a:p>
            <a:pPr lvl="0"/>
            <a:r>
              <a:rPr lang="en-IN" dirty="0"/>
              <a:t>will goes here</a:t>
            </a:r>
          </a:p>
        </p:txBody>
      </p:sp>
      <p:pic>
        <p:nvPicPr>
          <p:cNvPr id="7" name="Picture 2" descr="F:\InfoCepts_logo\InfoCepts Logo_Blue_PNG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333819"/>
            <a:ext cx="2304256" cy="163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67544" y="4640473"/>
            <a:ext cx="2448272" cy="307655"/>
          </a:xfrm>
          <a:prstGeom prst="rect">
            <a:avLst/>
          </a:prstGeom>
          <a:noFill/>
        </p:spPr>
        <p:txBody>
          <a:bodyPr wrap="square" lIns="91322" tIns="45660" rIns="91322" bIns="45660" rtlCol="0" anchor="b">
            <a:spAutoFit/>
          </a:bodyPr>
          <a:lstStyle/>
          <a:p>
            <a:pPr algn="l"/>
            <a:r>
              <a:rPr lang="en-IN" sz="1400" b="1" i="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</p:spTree>
    <p:extLst>
      <p:ext uri="{BB962C8B-B14F-4D97-AF65-F5344CB8AC3E}">
        <p14:creationId xmlns:p14="http://schemas.microsoft.com/office/powerpoint/2010/main" val="2845919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ftr="0" dt="0"/>
  <p:txStyles>
    <p:titleStyle>
      <a:lvl1pPr marL="0" indent="0" algn="r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Wingdings" pitchFamily="2" charset="2"/>
        <a:buNone/>
        <a:defRPr sz="2400" b="0" baseline="0">
          <a:solidFill>
            <a:srgbClr val="CBEC78"/>
          </a:solidFill>
          <a:latin typeface="Calibri" pitchFamily="34" charset="0"/>
          <a:ea typeface="Open Sans" pitchFamily="34" charset="0"/>
          <a:cs typeface="Calibri" pitchFamily="34" charset="0"/>
        </a:defRPr>
      </a:lvl1pPr>
      <a:lvl2pPr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2pPr>
      <a:lvl3pPr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3pPr>
      <a:lvl4pPr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4pPr>
      <a:lvl5pPr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5pPr>
      <a:lvl6pPr marL="456615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6pPr>
      <a:lvl7pPr marL="913227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7pPr>
      <a:lvl8pPr marL="1369838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8pPr>
      <a:lvl9pPr marL="1826451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9pPr>
    </p:titleStyle>
    <p:bodyStyle>
      <a:lvl1pPr marL="342457" marR="0" indent="-342457" algn="r" defTabSz="913227" rtl="0" eaLnBrk="1" fontAlgn="base" latinLnBrk="0" hangingPunct="1">
        <a:lnSpc>
          <a:spcPct val="100000"/>
        </a:lnSpc>
        <a:spcBef>
          <a:spcPts val="0"/>
        </a:spcBef>
        <a:spcAft>
          <a:spcPct val="0"/>
        </a:spcAft>
        <a:buClrTx/>
        <a:buSzTx/>
        <a:buFontTx/>
        <a:buNone/>
        <a:tabLst/>
        <a:defRPr lang="en-IN" sz="4500" b="0" baseline="0" dirty="0" smtClean="0">
          <a:solidFill>
            <a:schemeClr val="bg1"/>
          </a:solidFill>
          <a:latin typeface="Calibri Light" pitchFamily="34" charset="0"/>
          <a:ea typeface="Open Sans" pitchFamily="34" charset="0"/>
          <a:cs typeface="Calibri" pitchFamily="34" charset="0"/>
        </a:defRPr>
      </a:lvl1pPr>
      <a:lvl2pPr marL="741995" indent="-285386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1532" indent="-228306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598145" indent="-228306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4760" indent="-22830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1374" indent="-22830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67988" indent="-22830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4598" indent="-22830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1213" indent="-22830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15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27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38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51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65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82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92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06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2" tIns="45711" rIns="91422" bIns="45711" numCol="1" rtlCol="0" anchor="t" anchorCtr="0" compatLnSpc="1">
            <a:prstTxWarp prst="textNoShape">
              <a:avLst/>
            </a:prstTxWarp>
          </a:bodyPr>
          <a:lstStyle/>
          <a:p>
            <a:pPr defTabSz="914193"/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2" y="4868304"/>
            <a:ext cx="1258642" cy="246203"/>
          </a:xfrm>
          <a:prstGeom prst="rect">
            <a:avLst/>
          </a:prstGeom>
          <a:noFill/>
        </p:spPr>
        <p:txBody>
          <a:bodyPr wrap="none" lIns="91422" tIns="45711" rIns="91422" bIns="45711" rtlCol="0">
            <a:spAutoFit/>
          </a:bodyPr>
          <a:lstStyle/>
          <a:p>
            <a:pPr defTabSz="914193" fontAlgn="auto">
              <a:spcBef>
                <a:spcPts val="0"/>
              </a:spcBef>
              <a:spcAft>
                <a:spcPts val="0"/>
              </a:spcAft>
            </a:pPr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949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422" tIns="45711" rIns="91422" bIns="45711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6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 lIns="91422" tIns="45711" rIns="91422" bIns="45711"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193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 lIns="91422" tIns="45711" rIns="91422" bIns="45711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defTabSz="914193" fontAlgn="auto">
              <a:spcBef>
                <a:spcPts val="0"/>
              </a:spcBef>
              <a:spcAft>
                <a:spcPts val="0"/>
              </a:spcAft>
            </a:pPr>
            <a:fld id="{B6F15528-21DE-4FAA-801E-634DDDAF4B2B}" type="slidenum">
              <a:rPr lang="en-US" smtClean="0">
                <a:solidFill>
                  <a:prstClr val="white"/>
                </a:solidFill>
                <a:latin typeface="Calibri"/>
              </a:rPr>
              <a:pPr defTabSz="914193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73" y="4855425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930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9" r:id="rId1"/>
    <p:sldLayoutId id="2147484340" r:id="rId2"/>
    <p:sldLayoutId id="2147484341" r:id="rId3"/>
    <p:sldLayoutId id="2147484342" r:id="rId4"/>
    <p:sldLayoutId id="2147484343" r:id="rId5"/>
    <p:sldLayoutId id="2147484344" r:id="rId6"/>
    <p:sldLayoutId id="2147484345" r:id="rId7"/>
    <p:sldLayoutId id="2147484346" r:id="rId8"/>
    <p:sldLayoutId id="2147484347" r:id="rId9"/>
    <p:sldLayoutId id="2147484348" r:id="rId10"/>
    <p:sldLayoutId id="2147484349" r:id="rId11"/>
    <p:sldLayoutId id="2147484350" r:id="rId12"/>
    <p:sldLayoutId id="2147484351" r:id="rId13"/>
    <p:sldLayoutId id="2147484352" r:id="rId14"/>
    <p:sldLayoutId id="2147484354" r:id="rId15"/>
    <p:sldLayoutId id="2147484355" r:id="rId16"/>
  </p:sldLayoutIdLst>
  <p:txStyles>
    <p:titleStyle>
      <a:lvl1pPr algn="l" defTabSz="914193" rtl="0" eaLnBrk="1" latinLnBrk="0" hangingPunct="1">
        <a:spcBef>
          <a:spcPct val="0"/>
        </a:spcBef>
        <a:buNone/>
        <a:defRPr sz="24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819" indent="-342819" algn="l" defTabSz="914193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687" indent="-285687" algn="l" defTabSz="914193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804" indent="-228546" algn="l" defTabSz="914193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9445" indent="-228546" algn="l" defTabSz="809445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6082" indent="-228546" algn="l" defTabSz="914193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033" indent="-228546" algn="l" defTabSz="9141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34" indent="-228546" algn="l" defTabSz="9141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26" indent="-228546" algn="l" defTabSz="9141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27" indent="-228546" algn="l" defTabSz="9141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1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3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4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6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87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9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80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80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38" tIns="45719" rIns="91438" bIns="45719" numCol="1" rtlCol="0" anchor="t" anchorCtr="0" compatLnSpc="1">
            <a:prstTxWarp prst="textNoShape">
              <a:avLst/>
            </a:prstTxWarp>
          </a:bodyPr>
          <a:lstStyle/>
          <a:p>
            <a:pPr defTabSz="914355"/>
            <a:endParaRPr lang="en-IN" sz="1800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3" y="4839575"/>
            <a:ext cx="1258674" cy="246219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11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67494"/>
            <a:ext cx="8229600" cy="648072"/>
          </a:xfrm>
          <a:prstGeom prst="rect">
            <a:avLst/>
          </a:prstGeom>
        </p:spPr>
        <p:txBody>
          <a:bodyPr vert="horz" lIns="91438" tIns="45719" rIns="91438" bIns="45719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15612"/>
            <a:ext cx="8229600" cy="3268459"/>
          </a:xfrm>
          <a:prstGeom prst="rect">
            <a:avLst/>
          </a:prstGeom>
        </p:spPr>
        <p:txBody>
          <a:bodyPr vert="horz" lIns="91438" tIns="45719" rIns="91438" bIns="4571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3" y="3922297"/>
            <a:ext cx="360040" cy="193725"/>
          </a:xfrm>
          <a:prstGeom prst="rect">
            <a:avLst/>
          </a:prstGeom>
        </p:spPr>
        <p:txBody>
          <a:bodyPr lIns="91438" tIns="45719" rIns="91438" bIns="45719"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sz="800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50" y="4863800"/>
            <a:ext cx="360040" cy="193725"/>
          </a:xfrm>
          <a:prstGeom prst="rect">
            <a:avLst/>
          </a:prstGeom>
        </p:spPr>
        <p:txBody>
          <a:bodyPr lIns="91438" tIns="45719" rIns="91438" bIns="45719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36" y="4849374"/>
            <a:ext cx="2044111" cy="210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251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8" r:id="rId1"/>
    <p:sldLayoutId id="2147484359" r:id="rId2"/>
    <p:sldLayoutId id="2147484360" r:id="rId3"/>
    <p:sldLayoutId id="2147484361" r:id="rId4"/>
    <p:sldLayoutId id="2147484362" r:id="rId5"/>
    <p:sldLayoutId id="2147484363" r:id="rId6"/>
    <p:sldLayoutId id="2147484364" r:id="rId7"/>
    <p:sldLayoutId id="2147484365" r:id="rId8"/>
    <p:sldLayoutId id="2147484366" r:id="rId9"/>
    <p:sldLayoutId id="2147484367" r:id="rId10"/>
  </p:sldLayoutIdLst>
  <p:hf hdr="0" dt="0"/>
  <p:txStyles>
    <p:titleStyle>
      <a:lvl1pPr algn="l" defTabSz="914355" rtl="0" eaLnBrk="1" latinLnBrk="0" hangingPunct="1">
        <a:spcBef>
          <a:spcPct val="0"/>
        </a:spcBef>
        <a:buNone/>
        <a:defRPr sz="28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884" indent="-342884" algn="l" defTabSz="914355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36" indent="-285736" algn="l" defTabSz="914355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899" indent="-228588" algn="l" defTabSz="914355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9585" indent="-228588" algn="l" defTabSz="809585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6271" indent="-228588" algn="l" defTabSz="914355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548262" y="4878454"/>
            <a:ext cx="99097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IN" sz="750" dirty="0">
                <a:solidFill>
                  <a:prstClr val="white">
                    <a:lumMod val="85000"/>
                  </a:prstClr>
                </a:solidFill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21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9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3" y="3922297"/>
            <a:ext cx="360040" cy="19372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sz="600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73" y="4855096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960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0" r:id="rId1"/>
    <p:sldLayoutId id="2147484371" r:id="rId2"/>
    <p:sldLayoutId id="2147484372" r:id="rId3"/>
    <p:sldLayoutId id="2147484373" r:id="rId4"/>
    <p:sldLayoutId id="2147484374" r:id="rId5"/>
    <p:sldLayoutId id="2147484375" r:id="rId6"/>
    <p:sldLayoutId id="2147484376" r:id="rId7"/>
    <p:sldLayoutId id="2147484377" r:id="rId8"/>
  </p:sldLayoutIdLst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rgbClr val="0065A4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5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214313" indent="-214313" algn="l" defTabSz="6858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3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407194" indent="-171450" algn="l" defTabSz="6858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350" kern="1200">
          <a:solidFill>
            <a:schemeClr val="tx1">
              <a:lumMod val="85000"/>
              <a:lumOff val="1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607219" indent="-171450" algn="l" defTabSz="607219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200" kern="1200">
          <a:solidFill>
            <a:schemeClr val="tx1">
              <a:lumMod val="85000"/>
              <a:lumOff val="1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807244" indent="-171450" algn="l" defTabSz="6858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050" kern="1200">
          <a:solidFill>
            <a:schemeClr val="tx1">
              <a:lumMod val="85000"/>
              <a:lumOff val="1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321" tIns="34161" rIns="68321" bIns="34161" numCol="1" rtlCol="0" anchor="t" anchorCtr="0" compatLnSpc="1">
            <a:prstTxWarp prst="textNoShape">
              <a:avLst/>
            </a:prstTxWarp>
          </a:bodyPr>
          <a:lstStyle/>
          <a:p>
            <a:pPr defTabSz="683199"/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59" y="4868017"/>
            <a:ext cx="944287" cy="184405"/>
          </a:xfrm>
          <a:prstGeom prst="rect">
            <a:avLst/>
          </a:prstGeom>
          <a:noFill/>
        </p:spPr>
        <p:txBody>
          <a:bodyPr wrap="none" lIns="68321" tIns="34161" rIns="68321" bIns="34161" rtlCol="0">
            <a:spAutoFit/>
          </a:bodyPr>
          <a:lstStyle/>
          <a:p>
            <a:pPr defTabSz="683199"/>
            <a:r>
              <a:rPr lang="en-IN" sz="75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74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1"/>
            <a:ext cx="8229600" cy="648072"/>
          </a:xfrm>
          <a:prstGeom prst="rect">
            <a:avLst/>
          </a:prstGeom>
        </p:spPr>
        <p:txBody>
          <a:bodyPr vert="horz" lIns="91095" tIns="45548" rIns="91095" bIns="45548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74"/>
            <a:ext cx="8229600" cy="3394472"/>
          </a:xfrm>
          <a:prstGeom prst="rect">
            <a:avLst/>
          </a:prstGeom>
        </p:spPr>
        <p:txBody>
          <a:bodyPr vert="horz" lIns="91095" tIns="45548" rIns="91095" bIns="4554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3" y="3922297"/>
            <a:ext cx="360040" cy="193725"/>
          </a:xfrm>
          <a:prstGeom prst="rect">
            <a:avLst/>
          </a:prstGeom>
        </p:spPr>
        <p:txBody>
          <a:bodyPr lIns="68321" tIns="34161" rIns="68321" bIns="34161"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83199"/>
            <a:endParaRPr lang="en-IN" sz="600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 lIns="91095" tIns="45548" rIns="91095" bIns="45548"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pPr defTabSz="683199"/>
            <a:r>
              <a:rPr lang="en-IN">
                <a:solidFill>
                  <a:prstClr val="white"/>
                </a:solidFill>
              </a:rPr>
              <a:t>&lt;#&gt;</a:t>
            </a:r>
            <a:endParaRPr lang="en-IN" dirty="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632" y="4855141"/>
            <a:ext cx="2578613" cy="19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656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9" r:id="rId1"/>
    <p:sldLayoutId id="2147484380" r:id="rId2"/>
    <p:sldLayoutId id="2147484381" r:id="rId3"/>
    <p:sldLayoutId id="2147484382" r:id="rId4"/>
    <p:sldLayoutId id="2147484383" r:id="rId5"/>
    <p:sldLayoutId id="2147484384" r:id="rId6"/>
    <p:sldLayoutId id="2147484385" r:id="rId7"/>
    <p:sldLayoutId id="2147484386" r:id="rId8"/>
  </p:sldLayoutIdLst>
  <p:hf hdr="0" dt="0"/>
  <p:txStyles>
    <p:titleStyle>
      <a:lvl1pPr algn="l" defTabSz="683199" rtl="0" eaLnBrk="1" latinLnBrk="0" hangingPunct="1">
        <a:spcBef>
          <a:spcPct val="0"/>
        </a:spcBef>
        <a:buNone/>
        <a:defRPr sz="21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256208" indent="-256208" algn="l" defTabSz="683199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213504" indent="-213504" algn="l" defTabSz="683199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3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405651" indent="-170804" algn="l" defTabSz="683199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3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604914" indent="-170804" algn="l" defTabSz="604914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804185" indent="-170804" algn="l" defTabSz="683199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0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878798" indent="-170804" algn="l" defTabSz="68319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0398" indent="-170804" algn="l" defTabSz="68319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61996" indent="-170804" algn="l" defTabSz="68319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03591" indent="-170804" algn="l" defTabSz="68319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31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1598" algn="l" defTabSz="6831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3199" algn="l" defTabSz="6831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4801" algn="l" defTabSz="6831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66397" algn="l" defTabSz="6831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07995" algn="l" defTabSz="6831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49599" algn="l" defTabSz="6831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1194" algn="l" defTabSz="6831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32798" algn="l" defTabSz="6831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4" y="4867964"/>
            <a:ext cx="990977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75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10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6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sz="600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50" y="4855085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214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9" r:id="rId1"/>
    <p:sldLayoutId id="2147484390" r:id="rId2"/>
    <p:sldLayoutId id="2147484391" r:id="rId3"/>
    <p:sldLayoutId id="2147484392" r:id="rId4"/>
    <p:sldLayoutId id="2147484393" r:id="rId5"/>
    <p:sldLayoutId id="2147484394" r:id="rId6"/>
    <p:sldLayoutId id="2147484395" r:id="rId7"/>
    <p:sldLayoutId id="2147484396" r:id="rId8"/>
  </p:sldLayoutIdLst>
  <p:hf hdr="0" dt="0"/>
  <p:txStyles>
    <p:titleStyle>
      <a:lvl1pPr algn="l" defTabSz="685800" rtl="0" eaLnBrk="1" latinLnBrk="0" hangingPunct="1">
        <a:spcBef>
          <a:spcPct val="0"/>
        </a:spcBef>
        <a:buNone/>
        <a:defRPr sz="1800" kern="1200">
          <a:solidFill>
            <a:srgbClr val="0065A4"/>
          </a:solidFill>
          <a:latin typeface="Tw Cen MT" panose="020B0602020104020603" pitchFamily="34" charset="0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200" kern="1200">
          <a:solidFill>
            <a:schemeClr val="tx1"/>
          </a:solidFill>
          <a:latin typeface="Tw Cen MT" panose="020B0602020104020603" pitchFamily="34" charset="0"/>
          <a:ea typeface="+mn-ea"/>
          <a:cs typeface="+mn-cs"/>
        </a:defRPr>
      </a:lvl1pPr>
      <a:lvl2pPr marL="214313" indent="-214313" algn="l" defTabSz="6858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3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407194" indent="-171450" algn="l" defTabSz="6858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200" kern="1200">
          <a:solidFill>
            <a:schemeClr val="tx1">
              <a:lumMod val="85000"/>
              <a:lumOff val="15000"/>
            </a:schemeClr>
          </a:solidFill>
          <a:latin typeface="Tw Cen MT" panose="020B0602020104020603" pitchFamily="34" charset="0"/>
          <a:ea typeface="+mn-ea"/>
          <a:cs typeface="+mn-cs"/>
        </a:defRPr>
      </a:lvl3pPr>
      <a:lvl4pPr marL="607219" indent="-171450" algn="l" defTabSz="607219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200" kern="1200">
          <a:solidFill>
            <a:schemeClr val="tx1">
              <a:lumMod val="85000"/>
              <a:lumOff val="15000"/>
            </a:schemeClr>
          </a:solidFill>
          <a:latin typeface="Tw Cen MT" panose="020B0602020104020603" pitchFamily="34" charset="0"/>
          <a:ea typeface="+mn-ea"/>
          <a:cs typeface="+mn-cs"/>
        </a:defRPr>
      </a:lvl4pPr>
      <a:lvl5pPr marL="807244" indent="-171450" algn="l" defTabSz="6858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200" kern="1200">
          <a:solidFill>
            <a:schemeClr val="tx1">
              <a:lumMod val="85000"/>
              <a:lumOff val="15000"/>
            </a:schemeClr>
          </a:solidFill>
          <a:latin typeface="Tw Cen MT" panose="020B0602020104020603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407199" y="4878443"/>
            <a:ext cx="1132040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IN" sz="750" dirty="0">
                <a:solidFill>
                  <a:prstClr val="white">
                    <a:lumMod val="8500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10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6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sz="600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50" y="4855085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090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8" r:id="rId1"/>
    <p:sldLayoutId id="2147484399" r:id="rId2"/>
    <p:sldLayoutId id="2147484400" r:id="rId3"/>
    <p:sldLayoutId id="2147484401" r:id="rId4"/>
    <p:sldLayoutId id="2147484402" r:id="rId5"/>
    <p:sldLayoutId id="2147484403" r:id="rId6"/>
    <p:sldLayoutId id="2147484404" r:id="rId7"/>
    <p:sldLayoutId id="2147484405" r:id="rId8"/>
  </p:sldLayoutIdLst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rgbClr val="0065A4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5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214313" indent="-214313" algn="l" defTabSz="6858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3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407194" indent="-171450" algn="l" defTabSz="6858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350" kern="1200">
          <a:solidFill>
            <a:schemeClr val="tx1">
              <a:lumMod val="85000"/>
              <a:lumOff val="1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607219" indent="-171450" algn="l" defTabSz="607219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200" kern="1200">
          <a:solidFill>
            <a:schemeClr val="tx1">
              <a:lumMod val="85000"/>
              <a:lumOff val="1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807244" indent="-171450" algn="l" defTabSz="6858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050" kern="1200">
          <a:solidFill>
            <a:schemeClr val="tx1">
              <a:lumMod val="85000"/>
              <a:lumOff val="1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4" y="4867962"/>
            <a:ext cx="990977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75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08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3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sz="600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50" y="4855083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118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7" r:id="rId1"/>
    <p:sldLayoutId id="2147484408" r:id="rId2"/>
    <p:sldLayoutId id="2147484409" r:id="rId3"/>
    <p:sldLayoutId id="2147484410" r:id="rId4"/>
    <p:sldLayoutId id="2147484411" r:id="rId5"/>
    <p:sldLayoutId id="2147484412" r:id="rId6"/>
    <p:sldLayoutId id="2147484413" r:id="rId7"/>
    <p:sldLayoutId id="2147484414" r:id="rId8"/>
    <p:sldLayoutId id="2147484415" r:id="rId9"/>
  </p:sldLayoutIdLst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214313" indent="-214313" algn="l" defTabSz="6858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3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407194" indent="-171450" algn="l" defTabSz="6858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3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607219" indent="-171450" algn="l" defTabSz="607219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807244" indent="-171450" algn="l" defTabSz="6858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0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540" y="210015"/>
            <a:ext cx="8280920" cy="61317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540" y="843559"/>
            <a:ext cx="8280920" cy="347067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308311" y="4804042"/>
            <a:ext cx="12282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sz="1000" b="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52" name="Straight Connector 51"/>
          <p:cNvCxnSpPr/>
          <p:nvPr/>
        </p:nvCxnSpPr>
        <p:spPr bwMode="auto">
          <a:xfrm>
            <a:off x="8604448" y="4889078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53" name="Picture 52"/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36" y="4836764"/>
            <a:ext cx="2044111" cy="210210"/>
          </a:xfrm>
          <a:prstGeom prst="rect">
            <a:avLst/>
          </a:prstGeom>
        </p:spPr>
      </p:pic>
      <p:sp>
        <p:nvSpPr>
          <p:cNvPr id="54" name="Slide Number Placeholder 3"/>
          <p:cNvSpPr txBox="1">
            <a:spLocks/>
          </p:cNvSpPr>
          <p:nvPr/>
        </p:nvSpPr>
        <p:spPr>
          <a:xfrm>
            <a:off x="8624074" y="4826210"/>
            <a:ext cx="360040" cy="19378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24575E5D-BFCE-4DD2-BF0B-AE07218CB3C2}" type="slidenum">
              <a:rPr lang="en-US" smtClean="0">
                <a:solidFill>
                  <a:prstClr val="white"/>
                </a:solidFill>
                <a:latin typeface="Calibri"/>
              </a:rPr>
              <a:pPr/>
              <a:t>‹#›</a:t>
            </a:fld>
            <a:endParaRPr lang="en-IN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47153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7" r:id="rId1"/>
    <p:sldLayoutId id="2147484418" r:id="rId2"/>
    <p:sldLayoutId id="2147484419" r:id="rId3"/>
    <p:sldLayoutId id="2147484420" r:id="rId4"/>
    <p:sldLayoutId id="2147484421" r:id="rId5"/>
    <p:sldLayoutId id="2147484422" r:id="rId6"/>
    <p:sldLayoutId id="2147484423" r:id="rId7"/>
    <p:sldLayoutId id="2147484424" r:id="rId8"/>
    <p:sldLayoutId id="2147484425" r:id="rId9"/>
    <p:sldLayoutId id="2147484426" r:id="rId10"/>
    <p:sldLayoutId id="2147484427" r:id="rId11"/>
    <p:sldLayoutId id="2147484428" r:id="rId12"/>
    <p:sldLayoutId id="2147484429" r:id="rId13"/>
    <p:sldLayoutId id="2147484430" r:id="rId14"/>
    <p:sldLayoutId id="2147484431" r:id="rId15"/>
    <p:sldLayoutId id="2147484432" r:id="rId16"/>
    <p:sldLayoutId id="2147484433" r:id="rId17"/>
    <p:sldLayoutId id="2147484434" r:id="rId18"/>
    <p:sldLayoutId id="2147484435" r:id="rId19"/>
    <p:sldLayoutId id="2147484436" r:id="rId20"/>
    <p:sldLayoutId id="2147484437" r:id="rId21"/>
    <p:sldLayoutId id="2147484438" r:id="rId22"/>
    <p:sldLayoutId id="2147484439" r:id="rId23"/>
    <p:sldLayoutId id="2147484440" r:id="rId24"/>
    <p:sldLayoutId id="2147484441" r:id="rId25"/>
    <p:sldLayoutId id="2147484442" r:id="rId26"/>
    <p:sldLayoutId id="2147484443" r:id="rId27"/>
    <p:sldLayoutId id="2147484444" r:id="rId28"/>
    <p:sldLayoutId id="2147484445" r:id="rId29"/>
    <p:sldLayoutId id="2147484446" r:id="rId30"/>
    <p:sldLayoutId id="2147484447" r:id="rId31"/>
    <p:sldLayoutId id="2147484448" r:id="rId32"/>
    <p:sldLayoutId id="2147484449" r:id="rId33"/>
    <p:sldLayoutId id="2147484450" r:id="rId34"/>
    <p:sldLayoutId id="2147484451" r:id="rId35"/>
    <p:sldLayoutId id="2147484452" r:id="rId36"/>
    <p:sldLayoutId id="2147484453" r:id="rId37"/>
    <p:sldLayoutId id="2147484454" r:id="rId38"/>
    <p:sldLayoutId id="2147484455" r:id="rId39"/>
    <p:sldLayoutId id="2147484456" r:id="rId40"/>
    <p:sldLayoutId id="2147484457" r:id="rId41"/>
    <p:sldLayoutId id="2147484458" r:id="rId42"/>
    <p:sldLayoutId id="2147484459" r:id="rId43"/>
  </p:sldLayoutIdLst>
  <p:txStyles>
    <p:titleStyle>
      <a:lvl1pPr algn="l" defTabSz="914378" rtl="0" eaLnBrk="1" latinLnBrk="0" hangingPunct="1">
        <a:lnSpc>
          <a:spcPct val="86000"/>
        </a:lnSpc>
        <a:spcBef>
          <a:spcPct val="0"/>
        </a:spcBef>
        <a:buNone/>
        <a:defRPr sz="2100" kern="800" spc="-4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200" kern="800" spc="-1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1pPr>
      <a:lvl2pPr marL="344480" indent="-17303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200" kern="8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2pPr>
      <a:lvl3pPr marL="515925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200" kern="8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3pPr>
      <a:lvl4pPr marL="687371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200" kern="8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4pPr>
      <a:lvl5pPr marL="858817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200" kern="8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2" tIns="45711" rIns="91422" bIns="45711" numCol="1" rtlCol="0" anchor="t" anchorCtr="0" compatLnSpc="1">
            <a:prstTxWarp prst="textNoShape">
              <a:avLst/>
            </a:prstTxWarp>
          </a:bodyPr>
          <a:lstStyle/>
          <a:p>
            <a:pPr defTabSz="914193"/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2" y="4868304"/>
            <a:ext cx="1258642" cy="246203"/>
          </a:xfrm>
          <a:prstGeom prst="rect">
            <a:avLst/>
          </a:prstGeom>
          <a:noFill/>
        </p:spPr>
        <p:txBody>
          <a:bodyPr wrap="none" lIns="91422" tIns="45711" rIns="91422" bIns="45711" rtlCol="0">
            <a:spAutoFit/>
          </a:bodyPr>
          <a:lstStyle/>
          <a:p>
            <a:pPr defTabSz="914193" fontAlgn="auto">
              <a:spcBef>
                <a:spcPts val="0"/>
              </a:spcBef>
              <a:spcAft>
                <a:spcPts val="0"/>
              </a:spcAft>
            </a:pPr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949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422" tIns="45711" rIns="91422" bIns="45711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6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 lIns="91422" tIns="45711" rIns="91422" bIns="45711"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193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 lIns="91422" tIns="45711" rIns="91422" bIns="45711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defTabSz="914193" fontAlgn="auto">
              <a:spcBef>
                <a:spcPts val="0"/>
              </a:spcBef>
              <a:spcAft>
                <a:spcPts val="0"/>
              </a:spcAft>
            </a:pPr>
            <a:fld id="{B6F15528-21DE-4FAA-801E-634DDDAF4B2B}" type="slidenum">
              <a:rPr lang="en-US" smtClean="0">
                <a:solidFill>
                  <a:prstClr val="white"/>
                </a:solidFill>
                <a:latin typeface="Calibri"/>
              </a:rPr>
              <a:pPr defTabSz="914193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73" y="4855425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598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1" r:id="rId1"/>
    <p:sldLayoutId id="2147484462" r:id="rId2"/>
    <p:sldLayoutId id="2147484463" r:id="rId3"/>
    <p:sldLayoutId id="2147484464" r:id="rId4"/>
    <p:sldLayoutId id="2147484465" r:id="rId5"/>
    <p:sldLayoutId id="2147484466" r:id="rId6"/>
    <p:sldLayoutId id="2147484467" r:id="rId7"/>
    <p:sldLayoutId id="2147484468" r:id="rId8"/>
    <p:sldLayoutId id="2147484469" r:id="rId9"/>
    <p:sldLayoutId id="2147484470" r:id="rId10"/>
    <p:sldLayoutId id="2147484471" r:id="rId11"/>
    <p:sldLayoutId id="2147484472" r:id="rId12"/>
    <p:sldLayoutId id="2147484473" r:id="rId13"/>
    <p:sldLayoutId id="2147484474" r:id="rId14"/>
    <p:sldLayoutId id="2147484475" r:id="rId15"/>
    <p:sldLayoutId id="2147484476" r:id="rId16"/>
  </p:sldLayoutIdLst>
  <p:txStyles>
    <p:titleStyle>
      <a:lvl1pPr algn="l" defTabSz="914193" rtl="0" eaLnBrk="1" latinLnBrk="0" hangingPunct="1">
        <a:spcBef>
          <a:spcPct val="0"/>
        </a:spcBef>
        <a:buNone/>
        <a:defRPr sz="24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819" indent="-342819" algn="l" defTabSz="914193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687" indent="-285687" algn="l" defTabSz="914193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804" indent="-228546" algn="l" defTabSz="914193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9445" indent="-228546" algn="l" defTabSz="809445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6082" indent="-228546" algn="l" defTabSz="914193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033" indent="-228546" algn="l" defTabSz="9141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34" indent="-228546" algn="l" defTabSz="9141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26" indent="-228546" algn="l" defTabSz="9141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27" indent="-228546" algn="l" defTabSz="9141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1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3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4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6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87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9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80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80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540" y="210133"/>
            <a:ext cx="8280920" cy="47141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540" y="843559"/>
            <a:ext cx="8280920" cy="347067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0" y="4765552"/>
            <a:ext cx="9144000" cy="377954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380312" y="4866981"/>
            <a:ext cx="12586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 fontAlgn="auto">
              <a:spcBef>
                <a:spcPts val="0"/>
              </a:spcBef>
              <a:spcAft>
                <a:spcPts val="0"/>
              </a:spcAft>
            </a:pPr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12" name="Straight Connector 11"/>
          <p:cNvCxnSpPr/>
          <p:nvPr/>
        </p:nvCxnSpPr>
        <p:spPr bwMode="auto">
          <a:xfrm>
            <a:off x="8638991" y="4923429"/>
            <a:ext cx="0" cy="9231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Slide Number Placeholder 3"/>
          <p:cNvSpPr txBox="1">
            <a:spLocks/>
          </p:cNvSpPr>
          <p:nvPr/>
        </p:nvSpPr>
        <p:spPr>
          <a:xfrm>
            <a:off x="8624074" y="4886576"/>
            <a:ext cx="360040" cy="14530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378"/>
            <a:fld id="{24575E5D-BFCE-4DD2-BF0B-AE07218CB3C2}" type="slidenum">
              <a:rPr lang="en-US" smtClean="0">
                <a:solidFill>
                  <a:prstClr val="white"/>
                </a:solidFill>
              </a:rPr>
              <a:pPr defTabSz="914378"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4272" y="4818194"/>
            <a:ext cx="2553542" cy="264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35001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7" r:id="rId1"/>
    <p:sldLayoutId id="2147484498" r:id="rId2"/>
    <p:sldLayoutId id="2147484499" r:id="rId3"/>
    <p:sldLayoutId id="2147484500" r:id="rId4"/>
    <p:sldLayoutId id="2147484501" r:id="rId5"/>
    <p:sldLayoutId id="2147484502" r:id="rId6"/>
    <p:sldLayoutId id="2147484503" r:id="rId7"/>
    <p:sldLayoutId id="2147484504" r:id="rId8"/>
    <p:sldLayoutId id="2147484505" r:id="rId9"/>
    <p:sldLayoutId id="2147484506" r:id="rId10"/>
    <p:sldLayoutId id="2147484507" r:id="rId11"/>
    <p:sldLayoutId id="2147484508" r:id="rId12"/>
    <p:sldLayoutId id="2147484509" r:id="rId13"/>
    <p:sldLayoutId id="2147484510" r:id="rId14"/>
    <p:sldLayoutId id="2147484511" r:id="rId15"/>
    <p:sldLayoutId id="2147484512" r:id="rId16"/>
    <p:sldLayoutId id="2147484513" r:id="rId17"/>
    <p:sldLayoutId id="2147484514" r:id="rId18"/>
    <p:sldLayoutId id="2147484515" r:id="rId19"/>
    <p:sldLayoutId id="2147484516" r:id="rId20"/>
    <p:sldLayoutId id="2147484517" r:id="rId21"/>
    <p:sldLayoutId id="2147484518" r:id="rId22"/>
    <p:sldLayoutId id="2147484519" r:id="rId23"/>
    <p:sldLayoutId id="2147484520" r:id="rId24"/>
    <p:sldLayoutId id="2147484521" r:id="rId25"/>
    <p:sldLayoutId id="2147484522" r:id="rId26"/>
    <p:sldLayoutId id="2147484523" r:id="rId27"/>
    <p:sldLayoutId id="2147484524" r:id="rId28"/>
    <p:sldLayoutId id="2147484525" r:id="rId29"/>
    <p:sldLayoutId id="2147484526" r:id="rId30"/>
    <p:sldLayoutId id="2147484527" r:id="rId31"/>
    <p:sldLayoutId id="2147484528" r:id="rId32"/>
    <p:sldLayoutId id="2147484529" r:id="rId33"/>
    <p:sldLayoutId id="2147484530" r:id="rId34"/>
    <p:sldLayoutId id="2147484531" r:id="rId35"/>
    <p:sldLayoutId id="2147484532" r:id="rId36"/>
    <p:sldLayoutId id="2147484533" r:id="rId37"/>
    <p:sldLayoutId id="2147484534" r:id="rId38"/>
    <p:sldLayoutId id="2147484535" r:id="rId39"/>
    <p:sldLayoutId id="2147484536" r:id="rId40"/>
    <p:sldLayoutId id="2147484537" r:id="rId41"/>
    <p:sldLayoutId id="2147484538" r:id="rId42"/>
    <p:sldLayoutId id="2147484539" r:id="rId43"/>
    <p:sldLayoutId id="2147484540" r:id="rId44"/>
    <p:sldLayoutId id="2147484541" r:id="rId45"/>
  </p:sldLayoutIdLst>
  <p:hf hdr="0" ftr="0" dt="0"/>
  <p:txStyles>
    <p:titleStyle>
      <a:lvl1pPr algn="l" defTabSz="914378" rtl="0" eaLnBrk="1" latinLnBrk="0" hangingPunct="1">
        <a:lnSpc>
          <a:spcPct val="86000"/>
        </a:lnSpc>
        <a:spcBef>
          <a:spcPct val="0"/>
        </a:spcBef>
        <a:buNone/>
        <a:defRPr sz="2400" kern="800" spc="-40">
          <a:solidFill>
            <a:srgbClr val="0065A4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9388" indent="-179388" algn="l" defTabSz="914378" rtl="0" eaLnBrk="1" latinLnBrk="0" hangingPunct="1">
        <a:spcBef>
          <a:spcPct val="20000"/>
        </a:spcBef>
        <a:buClrTx/>
        <a:buFont typeface="+mj-lt"/>
        <a:buAutoNum type="arabicPeriod"/>
        <a:defRPr sz="1400" kern="800" spc="-1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44480" indent="-173034" algn="l" defTabSz="914378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sz="1400" kern="8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515925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400" kern="8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687371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400" kern="8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858817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400" kern="8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835824"/>
            <a:ext cx="9144000" cy="3664745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2" tIns="45660" rIns="91322" bIns="4566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IN" b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35696" y="1470180"/>
            <a:ext cx="6851104" cy="1559328"/>
          </a:xfrm>
          <a:prstGeom prst="rect">
            <a:avLst/>
          </a:prstGeom>
        </p:spPr>
        <p:txBody>
          <a:bodyPr vert="horz" lIns="91322" tIns="45660" rIns="91322" bIns="45660" rtlCol="0" anchor="b">
            <a:norm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35696" y="3036354"/>
            <a:ext cx="6851104" cy="561510"/>
          </a:xfrm>
          <a:prstGeom prst="rect">
            <a:avLst/>
          </a:prstGeom>
        </p:spPr>
        <p:txBody>
          <a:bodyPr vert="horz" lIns="91322" tIns="45660" rIns="91322" bIns="4566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2" descr="F:\InfoCepts_logo\InfoCepts Logo_Blue_PN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333819"/>
            <a:ext cx="2304256" cy="163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9" r="39342" b="11228"/>
          <a:stretch/>
        </p:blipFill>
        <p:spPr>
          <a:xfrm>
            <a:off x="3394" y="843578"/>
            <a:ext cx="5648761" cy="3672409"/>
          </a:xfrm>
          <a:prstGeom prst="rect">
            <a:avLst/>
          </a:prstGeom>
        </p:spPr>
      </p:pic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 lIns="91322" tIns="45660" rIns="91322" bIns="45660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6EE15B1-923E-4C9C-A4C2-61FAF7A3CA8E}" type="slidenum">
              <a:rPr lang="en-US" smtClean="0">
                <a:solidFill>
                  <a:srgbClr val="808080"/>
                </a:solidFill>
                <a:latin typeface="Calibri"/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  <a:latin typeface="Calibri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67544" y="4640473"/>
            <a:ext cx="2448272" cy="307655"/>
          </a:xfrm>
          <a:prstGeom prst="rect">
            <a:avLst/>
          </a:prstGeom>
          <a:noFill/>
        </p:spPr>
        <p:txBody>
          <a:bodyPr wrap="square" lIns="91322" tIns="45660" rIns="91322" bIns="45660" rtlCol="0" anchor="b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sz="140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</p:spTree>
    <p:extLst>
      <p:ext uri="{BB962C8B-B14F-4D97-AF65-F5344CB8AC3E}">
        <p14:creationId xmlns:p14="http://schemas.microsoft.com/office/powerpoint/2010/main" val="1214163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</p:sldLayoutIdLst>
  <p:hf hdr="0" ftr="0" dt="0"/>
  <p:txStyles>
    <p:titleStyle>
      <a:lvl1pPr algn="r" defTabSz="913227" rtl="0" eaLnBrk="1" latinLnBrk="0" hangingPunct="1">
        <a:spcBef>
          <a:spcPct val="0"/>
        </a:spcBef>
        <a:buNone/>
        <a:defRPr sz="45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r" defTabSz="913227" rtl="0" eaLnBrk="1" latinLnBrk="0" hangingPunct="1">
        <a:spcBef>
          <a:spcPct val="20000"/>
        </a:spcBef>
        <a:buFont typeface="Arial" pitchFamily="34" charset="0"/>
        <a:buNone/>
        <a:defRPr sz="2400" kern="1200">
          <a:solidFill>
            <a:srgbClr val="99CCFF"/>
          </a:solidFill>
          <a:latin typeface="+mn-lt"/>
          <a:ea typeface="+mn-ea"/>
          <a:cs typeface="+mn-cs"/>
        </a:defRPr>
      </a:lvl1pPr>
      <a:lvl2pPr marL="741995" indent="-285386" algn="l" defTabSz="913227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532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145" indent="-228306" algn="l" defTabSz="91322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4760" indent="-228306" algn="l" defTabSz="91322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1374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7988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4598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213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15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27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38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51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65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82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92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06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20" tIns="45659" rIns="91320" bIns="45659" numCol="1" rtlCol="0" anchor="t" anchorCtr="0" compatLnSpc="1">
            <a:prstTxWarp prst="textNoShape">
              <a:avLst/>
            </a:prstTxWarp>
          </a:bodyPr>
          <a:lstStyle/>
          <a:p>
            <a:pPr defTabSz="913204"/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5" y="4867919"/>
            <a:ext cx="1258436" cy="246098"/>
          </a:xfrm>
          <a:prstGeom prst="rect">
            <a:avLst/>
          </a:prstGeom>
          <a:noFill/>
        </p:spPr>
        <p:txBody>
          <a:bodyPr wrap="none" lIns="91320" tIns="45659" rIns="91320" bIns="45659" rtlCol="0">
            <a:spAutoFit/>
          </a:bodyPr>
          <a:lstStyle/>
          <a:p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799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320" tIns="45659" rIns="91320" bIns="45659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65"/>
            <a:ext cx="8229600" cy="3394472"/>
          </a:xfrm>
          <a:prstGeom prst="rect">
            <a:avLst/>
          </a:prstGeom>
        </p:spPr>
        <p:txBody>
          <a:bodyPr vert="horz" lIns="91320" tIns="45659" rIns="91320" bIns="4565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301"/>
            <a:ext cx="360040" cy="193725"/>
          </a:xfrm>
          <a:prstGeom prst="rect">
            <a:avLst/>
          </a:prstGeom>
        </p:spPr>
        <p:txBody>
          <a:bodyPr lIns="91320" tIns="45659" rIns="91320" bIns="45659"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8"/>
            <a:ext cx="360040" cy="193725"/>
          </a:xfrm>
          <a:prstGeom prst="rect">
            <a:avLst/>
          </a:prstGeom>
        </p:spPr>
        <p:txBody>
          <a:bodyPr lIns="91320" tIns="45659" rIns="91320" bIns="45659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73" y="4855384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43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3" r:id="rId1"/>
    <p:sldLayoutId id="2147484544" r:id="rId2"/>
    <p:sldLayoutId id="2147484545" r:id="rId3"/>
    <p:sldLayoutId id="2147484546" r:id="rId4"/>
    <p:sldLayoutId id="2147484547" r:id="rId5"/>
    <p:sldLayoutId id="2147484548" r:id="rId6"/>
    <p:sldLayoutId id="2147484549" r:id="rId7"/>
    <p:sldLayoutId id="2147484550" r:id="rId8"/>
    <p:sldLayoutId id="2147484551" r:id="rId9"/>
    <p:sldLayoutId id="2147484552" r:id="rId10"/>
  </p:sldLayoutIdLst>
  <p:hf hdr="0" ftr="0" dt="0"/>
  <p:txStyles>
    <p:titleStyle>
      <a:lvl1pPr algn="l" defTabSz="913204" rtl="0" eaLnBrk="1" latinLnBrk="0" hangingPunct="1">
        <a:spcBef>
          <a:spcPct val="0"/>
        </a:spcBef>
        <a:buNone/>
        <a:defRPr sz="28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449" indent="-342449" algn="l" defTabSz="913204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379" indent="-285379" algn="l" defTabSz="913204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213" indent="-228300" algn="l" defTabSz="913204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8563" indent="-228300" algn="l" defTabSz="808563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4918" indent="-228300" algn="l" defTabSz="913204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1311" indent="-228300" algn="l" defTabSz="9132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7914" indent="-228300" algn="l" defTabSz="9132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4512" indent="-228300" algn="l" defTabSz="9132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116" indent="-228300" algn="l" defTabSz="91320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04" algn="l" defTabSz="913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04" algn="l" defTabSz="913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04" algn="l" defTabSz="913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05" algn="l" defTabSz="913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08" algn="l" defTabSz="913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14" algn="l" defTabSz="913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12" algn="l" defTabSz="913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15" algn="l" defTabSz="913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22" tIns="45660" rIns="91322" bIns="45660" numCol="1" rtlCol="0" anchor="t" anchorCtr="0" compatLnSpc="1">
            <a:prstTxWarp prst="textNoShape">
              <a:avLst/>
            </a:prstTxWarp>
          </a:bodyPr>
          <a:lstStyle/>
          <a:p>
            <a:pPr defTabSz="913227"/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5" y="4867919"/>
            <a:ext cx="1258440" cy="246100"/>
          </a:xfrm>
          <a:prstGeom prst="rect">
            <a:avLst/>
          </a:prstGeom>
          <a:noFill/>
        </p:spPr>
        <p:txBody>
          <a:bodyPr wrap="none" lIns="91322" tIns="45660" rIns="91322" bIns="45660" rtlCol="0">
            <a:spAutoFit/>
          </a:bodyPr>
          <a:lstStyle/>
          <a:p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798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322" tIns="45660" rIns="91322" bIns="4566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65"/>
            <a:ext cx="8229600" cy="3394472"/>
          </a:xfrm>
          <a:prstGeom prst="rect">
            <a:avLst/>
          </a:prstGeom>
        </p:spPr>
        <p:txBody>
          <a:bodyPr vert="horz" lIns="91322" tIns="45660" rIns="91322" bIns="4566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8"/>
            <a:ext cx="360040" cy="193725"/>
          </a:xfrm>
          <a:prstGeom prst="rect">
            <a:avLst/>
          </a:prstGeom>
        </p:spPr>
        <p:txBody>
          <a:bodyPr lIns="91322" tIns="45660" rIns="91322" bIns="45660"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 lIns="91322" tIns="45660" rIns="91322" bIns="45660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50" y="4855383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417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4" r:id="rId1"/>
    <p:sldLayoutId id="2147484555" r:id="rId2"/>
    <p:sldLayoutId id="2147484556" r:id="rId3"/>
    <p:sldLayoutId id="2147484557" r:id="rId4"/>
    <p:sldLayoutId id="2147484558" r:id="rId5"/>
    <p:sldLayoutId id="2147484559" r:id="rId6"/>
    <p:sldLayoutId id="2147484560" r:id="rId7"/>
    <p:sldLayoutId id="2147484561" r:id="rId8"/>
    <p:sldLayoutId id="2147484562" r:id="rId9"/>
    <p:sldLayoutId id="2147484563" r:id="rId10"/>
  </p:sldLayoutIdLst>
  <p:hf hdr="0" ftr="0" dt="0"/>
  <p:txStyles>
    <p:titleStyle>
      <a:lvl1pPr algn="l" defTabSz="913227" rtl="0" eaLnBrk="1" latinLnBrk="0" hangingPunct="1">
        <a:spcBef>
          <a:spcPct val="0"/>
        </a:spcBef>
        <a:buNone/>
        <a:defRPr sz="28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457" indent="-342457" algn="l" defTabSz="913227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386" indent="-285386" algn="l" defTabSz="913227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226" indent="-228306" algn="l" defTabSz="913227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8583" indent="-228306" algn="l" defTabSz="808583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4945" indent="-228306" algn="l" defTabSz="913227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1374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7988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4598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213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15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27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38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51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65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82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92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06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1"/>
            <a:ext cx="8229600" cy="3728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67"/>
            <a:ext cx="8229600" cy="38967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19503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8" r:id="rId1"/>
    <p:sldLayoutId id="2147484599" r:id="rId2"/>
    <p:sldLayoutId id="2147484600" r:id="rId3"/>
    <p:sldLayoutId id="2147484601" r:id="rId4"/>
    <p:sldLayoutId id="2147484602" r:id="rId5"/>
    <p:sldLayoutId id="2147484603" r:id="rId6"/>
    <p:sldLayoutId id="2147484604" r:id="rId7"/>
    <p:sldLayoutId id="2147484605" r:id="rId8"/>
    <p:sldLayoutId id="2147484606" r:id="rId9"/>
    <p:sldLayoutId id="2147484607" r:id="rId10"/>
    <p:sldLayoutId id="2147484608" r:id="rId11"/>
    <p:sldLayoutId id="2147484609" r:id="rId12"/>
    <p:sldLayoutId id="2147484610" r:id="rId13"/>
    <p:sldLayoutId id="2147484611" r:id="rId14"/>
    <p:sldLayoutId id="2147484612" r:id="rId15"/>
    <p:sldLayoutId id="2147484613" r:id="rId16"/>
    <p:sldLayoutId id="2147484614" r:id="rId1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5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9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9625" indent="-228600" algn="l" defTabSz="809625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63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835824"/>
            <a:ext cx="9144000" cy="3664745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35697" y="3036354"/>
            <a:ext cx="6851104" cy="56577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Click to edit Master subtitle styles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35697" y="1491630"/>
            <a:ext cx="6851104" cy="153361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8" name="Picture 2" descr="F:\InfoCepts_logo\InfoCepts Logo_Blue_PN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1" y="333770"/>
            <a:ext cx="2304256" cy="163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94" y="843563"/>
            <a:ext cx="5648761" cy="3672409"/>
          </a:xfrm>
          <a:prstGeom prst="rect">
            <a:avLst/>
          </a:prstGeom>
        </p:spPr>
      </p:pic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  <a:cs typeface="+mn-cs"/>
              </a:rPr>
              <a:t>#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67545" y="4694100"/>
            <a:ext cx="2448272" cy="25391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IN" sz="1050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</p:spTree>
    <p:extLst>
      <p:ext uri="{BB962C8B-B14F-4D97-AF65-F5344CB8AC3E}">
        <p14:creationId xmlns:p14="http://schemas.microsoft.com/office/powerpoint/2010/main" val="377407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7" r:id="rId1"/>
    <p:sldLayoutId id="2147484618" r:id="rId2"/>
    <p:sldLayoutId id="2147484619" r:id="rId3"/>
    <p:sldLayoutId id="2147484620" r:id="rId4"/>
  </p:sldLayoutIdLst>
  <p:hf hdr="0" ftr="0" dt="0"/>
  <p:txStyles>
    <p:titleStyle>
      <a:lvl1pPr algn="r" defTabSz="685800" rtl="0" eaLnBrk="1" latinLnBrk="0" hangingPunct="1">
        <a:spcBef>
          <a:spcPct val="0"/>
        </a:spcBef>
        <a:buNone/>
        <a:defRPr sz="1800" kern="1200">
          <a:solidFill>
            <a:schemeClr val="tx2">
              <a:lumMod val="20000"/>
              <a:lumOff val="8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r" defTabSz="685800" rtl="0" eaLnBrk="1" latinLnBrk="0" hangingPunct="1">
        <a:spcBef>
          <a:spcPct val="20000"/>
        </a:spcBef>
        <a:buFont typeface="Arial" pitchFamily="34" charset="0"/>
        <a:buNone/>
        <a:defRPr sz="3375" kern="1200">
          <a:solidFill>
            <a:schemeClr val="bg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4"/>
          <p:cNvSpPr>
            <a:spLocks noChangeArrowheads="1"/>
          </p:cNvSpPr>
          <p:nvPr/>
        </p:nvSpPr>
        <p:spPr bwMode="auto">
          <a:xfrm>
            <a:off x="0" y="4765770"/>
            <a:ext cx="9144000" cy="377825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dirty="0">
              <a:solidFill>
                <a:srgbClr val="0065A4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800" y="209600"/>
            <a:ext cx="8280400" cy="6143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800" y="842964"/>
            <a:ext cx="8280400" cy="34718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endParaRPr lang="en-US" dirty="0"/>
          </a:p>
        </p:txBody>
      </p:sp>
      <p:sp>
        <p:nvSpPr>
          <p:cNvPr id="1029" name="TextBox 50"/>
          <p:cNvSpPr txBox="1">
            <a:spLocks noChangeArrowheads="1"/>
          </p:cNvSpPr>
          <p:nvPr/>
        </p:nvSpPr>
        <p:spPr bwMode="auto">
          <a:xfrm>
            <a:off x="7308875" y="4803870"/>
            <a:ext cx="122822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en-US" sz="1000" b="0" dirty="0">
                <a:solidFill>
                  <a:srgbClr val="D9D9D9"/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52" name="Straight Connector 51"/>
          <p:cNvCxnSpPr/>
          <p:nvPr/>
        </p:nvCxnSpPr>
        <p:spPr bwMode="auto">
          <a:xfrm>
            <a:off x="8604250" y="4889595"/>
            <a:ext cx="0" cy="920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31" name="Picture 52"/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2400" y="4765676"/>
            <a:ext cx="2553542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Slide Number Placeholder 3"/>
          <p:cNvSpPr txBox="1">
            <a:spLocks/>
          </p:cNvSpPr>
          <p:nvPr/>
        </p:nvSpPr>
        <p:spPr>
          <a:xfrm>
            <a:off x="8623490" y="4834886"/>
            <a:ext cx="360363" cy="19367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07400EA1-762A-4FF6-8A70-4141B3AE7845}" type="slidenum">
              <a:rPr lang="en-US" smtClean="0">
                <a:solidFill>
                  <a:prstClr val="white"/>
                </a:solidFill>
                <a:latin typeface="Calibri"/>
              </a:rPr>
              <a:pPr>
                <a:defRPr/>
              </a:pPr>
              <a:t>‹#›</a:t>
            </a:fld>
            <a:endParaRPr lang="en-IN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77679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3" r:id="rId1"/>
    <p:sldLayoutId id="2147484624" r:id="rId2"/>
    <p:sldLayoutId id="2147484625" r:id="rId3"/>
    <p:sldLayoutId id="2147484626" r:id="rId4"/>
    <p:sldLayoutId id="2147484627" r:id="rId5"/>
    <p:sldLayoutId id="2147484628" r:id="rId6"/>
    <p:sldLayoutId id="2147484629" r:id="rId7"/>
    <p:sldLayoutId id="2147484630" r:id="rId8"/>
    <p:sldLayoutId id="2147484631" r:id="rId9"/>
    <p:sldLayoutId id="2147484632" r:id="rId10"/>
    <p:sldLayoutId id="2147484633" r:id="rId11"/>
    <p:sldLayoutId id="2147484634" r:id="rId12"/>
    <p:sldLayoutId id="2147484635" r:id="rId13"/>
    <p:sldLayoutId id="2147484636" r:id="rId14"/>
    <p:sldLayoutId id="2147484637" r:id="rId15"/>
    <p:sldLayoutId id="2147484638" r:id="rId16"/>
    <p:sldLayoutId id="2147484639" r:id="rId17"/>
    <p:sldLayoutId id="2147484640" r:id="rId18"/>
    <p:sldLayoutId id="2147484641" r:id="rId19"/>
    <p:sldLayoutId id="2147484642" r:id="rId20"/>
    <p:sldLayoutId id="2147484643" r:id="rId21"/>
    <p:sldLayoutId id="2147484644" r:id="rId22"/>
    <p:sldLayoutId id="2147484645" r:id="rId23"/>
    <p:sldLayoutId id="2147484646" r:id="rId24"/>
    <p:sldLayoutId id="2147484647" r:id="rId25"/>
    <p:sldLayoutId id="2147484648" r:id="rId26"/>
    <p:sldLayoutId id="2147484649" r:id="rId27"/>
    <p:sldLayoutId id="2147484650" r:id="rId28"/>
    <p:sldLayoutId id="2147484651" r:id="rId29"/>
    <p:sldLayoutId id="2147484652" r:id="rId30"/>
    <p:sldLayoutId id="2147484653" r:id="rId31"/>
    <p:sldLayoutId id="2147484654" r:id="rId32"/>
    <p:sldLayoutId id="2147484655" r:id="rId33"/>
    <p:sldLayoutId id="2147484656" r:id="rId34"/>
    <p:sldLayoutId id="2147484657" r:id="rId35"/>
    <p:sldLayoutId id="2147484658" r:id="rId36"/>
    <p:sldLayoutId id="2147484659" r:id="rId37"/>
    <p:sldLayoutId id="2147484660" r:id="rId38"/>
    <p:sldLayoutId id="2147484661" r:id="rId39"/>
    <p:sldLayoutId id="2147484662" r:id="rId40"/>
    <p:sldLayoutId id="2147484663" r:id="rId41"/>
    <p:sldLayoutId id="2147484664" r:id="rId42"/>
    <p:sldLayoutId id="2147484665" r:id="rId43"/>
  </p:sldLayoutIdLst>
  <p:txStyles>
    <p:titleStyle>
      <a:lvl1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 kern="800" spc="-40">
          <a:solidFill>
            <a:srgbClr val="0065A4"/>
          </a:solidFill>
          <a:latin typeface="+mj-lt"/>
          <a:ea typeface="+mj-ea"/>
          <a:cs typeface="+mj-cs"/>
        </a:defRPr>
      </a:lvl1pPr>
      <a:lvl2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2pPr>
      <a:lvl3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3pPr>
      <a:lvl4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4pPr>
      <a:lvl5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5pPr>
      <a:lvl6pPr marL="4572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6pPr>
      <a:lvl7pPr marL="9144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7pPr>
      <a:lvl8pPr marL="13716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8pPr>
      <a:lvl9pPr marL="18288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9pPr>
    </p:titleStyle>
    <p:bodyStyle>
      <a:lvl1pPr marL="228600" indent="-228600" algn="l" defTabSz="912813" rtl="0" eaLnBrk="1" fontAlgn="base" hangingPunct="1">
        <a:spcBef>
          <a:spcPct val="20000"/>
        </a:spcBef>
        <a:spcAft>
          <a:spcPct val="0"/>
        </a:spcAft>
        <a:buFont typeface="Calibri" pitchFamily="34" charset="0"/>
        <a:buAutoNum type="arabicPeriod"/>
        <a:defRPr sz="1200" kern="800" spc="-10">
          <a:solidFill>
            <a:srgbClr val="414043"/>
          </a:solidFill>
          <a:latin typeface="+mn-lt"/>
          <a:ea typeface="+mn-ea"/>
          <a:cs typeface="+mn-cs"/>
        </a:defRPr>
      </a:lvl1pPr>
      <a:lvl2pPr marL="342900" indent="-171450" algn="l" defTabSz="912813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200" kern="800">
          <a:solidFill>
            <a:srgbClr val="414043"/>
          </a:solidFill>
          <a:latin typeface="+mn-lt"/>
          <a:ea typeface="+mn-ea"/>
          <a:cs typeface="+mn-cs"/>
        </a:defRPr>
      </a:lvl2pPr>
      <a:lvl3pPr marL="51435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200" kern="800">
          <a:solidFill>
            <a:srgbClr val="414043"/>
          </a:solidFill>
          <a:latin typeface="+mn-lt"/>
          <a:ea typeface="+mn-ea"/>
          <a:cs typeface="+mn-cs"/>
        </a:defRPr>
      </a:lvl3pPr>
      <a:lvl4pPr marL="68580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 kern="800">
          <a:solidFill>
            <a:srgbClr val="414043"/>
          </a:solidFill>
          <a:latin typeface="+mn-lt"/>
          <a:ea typeface="+mn-ea"/>
          <a:cs typeface="+mn-cs"/>
        </a:defRPr>
      </a:lvl4pPr>
      <a:lvl5pPr marL="85725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»"/>
        <a:defRPr sz="1200" kern="800">
          <a:solidFill>
            <a:srgbClr val="414043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4"/>
          <p:cNvSpPr>
            <a:spLocks noChangeArrowheads="1"/>
          </p:cNvSpPr>
          <p:nvPr/>
        </p:nvSpPr>
        <p:spPr bwMode="auto">
          <a:xfrm>
            <a:off x="0" y="4765719"/>
            <a:ext cx="9144000" cy="377825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dirty="0">
              <a:solidFill>
                <a:srgbClr val="0065A4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800" y="209594"/>
            <a:ext cx="8280400" cy="6143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800" y="842964"/>
            <a:ext cx="8280400" cy="34718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endParaRPr lang="en-US" dirty="0"/>
          </a:p>
        </p:txBody>
      </p:sp>
      <p:sp>
        <p:nvSpPr>
          <p:cNvPr id="1029" name="TextBox 50"/>
          <p:cNvSpPr txBox="1">
            <a:spLocks noChangeArrowheads="1"/>
          </p:cNvSpPr>
          <p:nvPr/>
        </p:nvSpPr>
        <p:spPr bwMode="auto">
          <a:xfrm>
            <a:off x="7308875" y="4803819"/>
            <a:ext cx="122822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en-US" sz="1000" b="0" dirty="0">
                <a:solidFill>
                  <a:srgbClr val="D9D9D9"/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52" name="Straight Connector 51"/>
          <p:cNvCxnSpPr/>
          <p:nvPr/>
        </p:nvCxnSpPr>
        <p:spPr bwMode="auto">
          <a:xfrm>
            <a:off x="8604250" y="4889544"/>
            <a:ext cx="0" cy="920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31" name="Picture 52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2400" y="4765676"/>
            <a:ext cx="2553542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Slide Number Placeholder 3"/>
          <p:cNvSpPr txBox="1">
            <a:spLocks/>
          </p:cNvSpPr>
          <p:nvPr/>
        </p:nvSpPr>
        <p:spPr>
          <a:xfrm>
            <a:off x="8623388" y="4834836"/>
            <a:ext cx="360363" cy="19367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07400EA1-762A-4FF6-8A70-4141B3AE7845}" type="slidenum">
              <a:rPr lang="en-US" smtClean="0">
                <a:latin typeface="+mj-lt"/>
              </a:rPr>
              <a:pPr>
                <a:defRPr/>
              </a:pPr>
              <a:t>‹#›</a:t>
            </a:fld>
            <a:endParaRPr lang="en-IN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01710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8" r:id="rId1"/>
    <p:sldLayoutId id="2147484669" r:id="rId2"/>
    <p:sldLayoutId id="2147484670" r:id="rId3"/>
    <p:sldLayoutId id="2147484671" r:id="rId4"/>
    <p:sldLayoutId id="2147484672" r:id="rId5"/>
    <p:sldLayoutId id="2147484673" r:id="rId6"/>
    <p:sldLayoutId id="2147484674" r:id="rId7"/>
    <p:sldLayoutId id="2147484675" r:id="rId8"/>
    <p:sldLayoutId id="2147484676" r:id="rId9"/>
    <p:sldLayoutId id="2147484677" r:id="rId10"/>
    <p:sldLayoutId id="2147484678" r:id="rId11"/>
    <p:sldLayoutId id="2147484679" r:id="rId12"/>
    <p:sldLayoutId id="2147484680" r:id="rId13"/>
    <p:sldLayoutId id="2147484681" r:id="rId14"/>
    <p:sldLayoutId id="2147484682" r:id="rId15"/>
    <p:sldLayoutId id="2147484683" r:id="rId16"/>
    <p:sldLayoutId id="2147484684" r:id="rId17"/>
    <p:sldLayoutId id="2147484685" r:id="rId18"/>
    <p:sldLayoutId id="2147484686" r:id="rId19"/>
    <p:sldLayoutId id="2147484687" r:id="rId20"/>
    <p:sldLayoutId id="2147484688" r:id="rId21"/>
    <p:sldLayoutId id="2147484689" r:id="rId22"/>
    <p:sldLayoutId id="2147484690" r:id="rId23"/>
    <p:sldLayoutId id="2147484691" r:id="rId24"/>
    <p:sldLayoutId id="2147484692" r:id="rId25"/>
    <p:sldLayoutId id="2147484693" r:id="rId26"/>
    <p:sldLayoutId id="2147484694" r:id="rId27"/>
    <p:sldLayoutId id="2147484695" r:id="rId28"/>
    <p:sldLayoutId id="2147484696" r:id="rId29"/>
    <p:sldLayoutId id="2147484697" r:id="rId30"/>
    <p:sldLayoutId id="2147484698" r:id="rId31"/>
    <p:sldLayoutId id="2147484699" r:id="rId32"/>
    <p:sldLayoutId id="2147484700" r:id="rId33"/>
    <p:sldLayoutId id="2147484701" r:id="rId34"/>
    <p:sldLayoutId id="2147484702" r:id="rId35"/>
    <p:sldLayoutId id="2147484703" r:id="rId36"/>
    <p:sldLayoutId id="2147484704" r:id="rId37"/>
    <p:sldLayoutId id="2147484705" r:id="rId38"/>
    <p:sldLayoutId id="2147484706" r:id="rId39"/>
    <p:sldLayoutId id="2147484707" r:id="rId40"/>
    <p:sldLayoutId id="2147484708" r:id="rId41"/>
    <p:sldLayoutId id="2147484709" r:id="rId42"/>
    <p:sldLayoutId id="2147484710" r:id="rId43"/>
    <p:sldLayoutId id="2147484711" r:id="rId44"/>
  </p:sldLayoutIdLst>
  <p:txStyles>
    <p:titleStyle>
      <a:lvl1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 kern="800" spc="-40">
          <a:solidFill>
            <a:srgbClr val="0065A4"/>
          </a:solidFill>
          <a:latin typeface="+mj-lt"/>
          <a:ea typeface="+mj-ea"/>
          <a:cs typeface="+mj-cs"/>
        </a:defRPr>
      </a:lvl1pPr>
      <a:lvl2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2pPr>
      <a:lvl3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3pPr>
      <a:lvl4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4pPr>
      <a:lvl5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5pPr>
      <a:lvl6pPr marL="4572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6pPr>
      <a:lvl7pPr marL="9144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7pPr>
      <a:lvl8pPr marL="13716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8pPr>
      <a:lvl9pPr marL="18288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9pPr>
    </p:titleStyle>
    <p:bodyStyle>
      <a:lvl1pPr marL="228600" indent="-228600" algn="l" defTabSz="912813" rtl="0" eaLnBrk="1" fontAlgn="base" hangingPunct="1">
        <a:spcBef>
          <a:spcPct val="20000"/>
        </a:spcBef>
        <a:spcAft>
          <a:spcPct val="0"/>
        </a:spcAft>
        <a:buFont typeface="Calibri" pitchFamily="34" charset="0"/>
        <a:buAutoNum type="arabicPeriod"/>
        <a:defRPr sz="1200" kern="800" spc="-10">
          <a:solidFill>
            <a:srgbClr val="414043"/>
          </a:solidFill>
          <a:latin typeface="+mn-lt"/>
          <a:ea typeface="+mn-ea"/>
          <a:cs typeface="+mn-cs"/>
        </a:defRPr>
      </a:lvl1pPr>
      <a:lvl2pPr marL="342900" indent="-171450" algn="l" defTabSz="912813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200" kern="800">
          <a:solidFill>
            <a:srgbClr val="414043"/>
          </a:solidFill>
          <a:latin typeface="+mn-lt"/>
          <a:ea typeface="+mn-ea"/>
          <a:cs typeface="+mn-cs"/>
        </a:defRPr>
      </a:lvl2pPr>
      <a:lvl3pPr marL="51435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200" kern="800">
          <a:solidFill>
            <a:srgbClr val="414043"/>
          </a:solidFill>
          <a:latin typeface="+mn-lt"/>
          <a:ea typeface="+mn-ea"/>
          <a:cs typeface="+mn-cs"/>
        </a:defRPr>
      </a:lvl3pPr>
      <a:lvl4pPr marL="68580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 kern="800">
          <a:solidFill>
            <a:srgbClr val="414043"/>
          </a:solidFill>
          <a:latin typeface="+mn-lt"/>
          <a:ea typeface="+mn-ea"/>
          <a:cs typeface="+mn-cs"/>
        </a:defRPr>
      </a:lvl4pPr>
      <a:lvl5pPr marL="85725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»"/>
        <a:defRPr sz="1200" kern="800">
          <a:solidFill>
            <a:srgbClr val="414043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4"/>
          <p:cNvSpPr>
            <a:spLocks noChangeArrowheads="1"/>
          </p:cNvSpPr>
          <p:nvPr/>
        </p:nvSpPr>
        <p:spPr bwMode="auto">
          <a:xfrm>
            <a:off x="0" y="4765768"/>
            <a:ext cx="9144000" cy="377825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altLang="en-US" dirty="0">
              <a:solidFill>
                <a:srgbClr val="0065A4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800" y="209600"/>
            <a:ext cx="8280400" cy="6143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800" y="842964"/>
            <a:ext cx="8280400" cy="34718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endParaRPr lang="en-US" dirty="0"/>
          </a:p>
        </p:txBody>
      </p:sp>
      <p:sp>
        <p:nvSpPr>
          <p:cNvPr id="1029" name="TextBox 50"/>
          <p:cNvSpPr txBox="1">
            <a:spLocks noChangeArrowheads="1"/>
          </p:cNvSpPr>
          <p:nvPr/>
        </p:nvSpPr>
        <p:spPr bwMode="auto">
          <a:xfrm>
            <a:off x="7308875" y="4803868"/>
            <a:ext cx="122822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en-US" sz="1000" b="0" dirty="0">
                <a:solidFill>
                  <a:srgbClr val="D9D9D9"/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52" name="Straight Connector 51"/>
          <p:cNvCxnSpPr/>
          <p:nvPr/>
        </p:nvCxnSpPr>
        <p:spPr bwMode="auto">
          <a:xfrm>
            <a:off x="8604250" y="4889593"/>
            <a:ext cx="0" cy="920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31" name="Picture 52"/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2400" y="4765676"/>
            <a:ext cx="2553542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Slide Number Placeholder 3"/>
          <p:cNvSpPr txBox="1">
            <a:spLocks/>
          </p:cNvSpPr>
          <p:nvPr/>
        </p:nvSpPr>
        <p:spPr>
          <a:xfrm>
            <a:off x="8623486" y="4834884"/>
            <a:ext cx="360363" cy="19367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07400EA1-762A-4FF6-8A70-4141B3AE7845}" type="slidenum">
              <a:rPr lang="en-US" smtClean="0">
                <a:solidFill>
                  <a:prstClr val="white"/>
                </a:solidFill>
                <a:latin typeface="Calibri"/>
              </a:rPr>
              <a:pPr>
                <a:defRPr/>
              </a:pPr>
              <a:t>‹#›</a:t>
            </a:fld>
            <a:endParaRPr lang="en-IN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66196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3" r:id="rId1"/>
    <p:sldLayoutId id="2147484714" r:id="rId2"/>
    <p:sldLayoutId id="2147484715" r:id="rId3"/>
    <p:sldLayoutId id="2147484716" r:id="rId4"/>
    <p:sldLayoutId id="2147484717" r:id="rId5"/>
    <p:sldLayoutId id="2147484718" r:id="rId6"/>
    <p:sldLayoutId id="2147484719" r:id="rId7"/>
    <p:sldLayoutId id="2147484720" r:id="rId8"/>
    <p:sldLayoutId id="2147484721" r:id="rId9"/>
    <p:sldLayoutId id="2147484722" r:id="rId10"/>
    <p:sldLayoutId id="2147484723" r:id="rId11"/>
    <p:sldLayoutId id="2147484724" r:id="rId12"/>
    <p:sldLayoutId id="2147484725" r:id="rId13"/>
    <p:sldLayoutId id="2147484726" r:id="rId14"/>
    <p:sldLayoutId id="2147484727" r:id="rId15"/>
    <p:sldLayoutId id="2147484728" r:id="rId16"/>
    <p:sldLayoutId id="2147484729" r:id="rId17"/>
    <p:sldLayoutId id="2147484730" r:id="rId18"/>
    <p:sldLayoutId id="2147484731" r:id="rId19"/>
    <p:sldLayoutId id="2147484732" r:id="rId20"/>
    <p:sldLayoutId id="2147484733" r:id="rId21"/>
    <p:sldLayoutId id="2147484734" r:id="rId22"/>
    <p:sldLayoutId id="2147484735" r:id="rId23"/>
    <p:sldLayoutId id="2147484736" r:id="rId24"/>
    <p:sldLayoutId id="2147484737" r:id="rId25"/>
    <p:sldLayoutId id="2147484738" r:id="rId26"/>
    <p:sldLayoutId id="2147484739" r:id="rId27"/>
    <p:sldLayoutId id="2147484740" r:id="rId28"/>
    <p:sldLayoutId id="2147484741" r:id="rId29"/>
    <p:sldLayoutId id="2147484742" r:id="rId30"/>
    <p:sldLayoutId id="2147484743" r:id="rId31"/>
    <p:sldLayoutId id="2147484744" r:id="rId32"/>
    <p:sldLayoutId id="2147484745" r:id="rId33"/>
    <p:sldLayoutId id="2147484746" r:id="rId34"/>
    <p:sldLayoutId id="2147484747" r:id="rId35"/>
    <p:sldLayoutId id="2147484748" r:id="rId36"/>
    <p:sldLayoutId id="2147484749" r:id="rId37"/>
    <p:sldLayoutId id="2147484750" r:id="rId38"/>
    <p:sldLayoutId id="2147484751" r:id="rId39"/>
    <p:sldLayoutId id="2147484752" r:id="rId40"/>
    <p:sldLayoutId id="2147484753" r:id="rId41"/>
    <p:sldLayoutId id="2147484754" r:id="rId42"/>
    <p:sldLayoutId id="2147484755" r:id="rId43"/>
  </p:sldLayoutIdLst>
  <p:txStyles>
    <p:titleStyle>
      <a:lvl1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 kern="800" spc="-40">
          <a:solidFill>
            <a:srgbClr val="0065A4"/>
          </a:solidFill>
          <a:latin typeface="+mj-lt"/>
          <a:ea typeface="+mj-ea"/>
          <a:cs typeface="+mj-cs"/>
        </a:defRPr>
      </a:lvl1pPr>
      <a:lvl2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2pPr>
      <a:lvl3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3pPr>
      <a:lvl4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4pPr>
      <a:lvl5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5pPr>
      <a:lvl6pPr marL="4572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6pPr>
      <a:lvl7pPr marL="9144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7pPr>
      <a:lvl8pPr marL="13716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8pPr>
      <a:lvl9pPr marL="18288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9pPr>
    </p:titleStyle>
    <p:bodyStyle>
      <a:lvl1pPr marL="228600" indent="-228600" algn="l" defTabSz="912813" rtl="0" eaLnBrk="1" fontAlgn="base" hangingPunct="1">
        <a:spcBef>
          <a:spcPct val="20000"/>
        </a:spcBef>
        <a:spcAft>
          <a:spcPct val="0"/>
        </a:spcAft>
        <a:buFont typeface="Calibri" pitchFamily="34" charset="0"/>
        <a:buAutoNum type="arabicPeriod"/>
        <a:defRPr sz="1200" kern="800" spc="-10">
          <a:solidFill>
            <a:srgbClr val="414043"/>
          </a:solidFill>
          <a:latin typeface="+mn-lt"/>
          <a:ea typeface="+mn-ea"/>
          <a:cs typeface="+mn-cs"/>
        </a:defRPr>
      </a:lvl1pPr>
      <a:lvl2pPr marL="342900" indent="-171450" algn="l" defTabSz="912813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200" kern="800">
          <a:solidFill>
            <a:srgbClr val="414043"/>
          </a:solidFill>
          <a:latin typeface="+mn-lt"/>
          <a:ea typeface="+mn-ea"/>
          <a:cs typeface="+mn-cs"/>
        </a:defRPr>
      </a:lvl2pPr>
      <a:lvl3pPr marL="51435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200" kern="800">
          <a:solidFill>
            <a:srgbClr val="414043"/>
          </a:solidFill>
          <a:latin typeface="+mn-lt"/>
          <a:ea typeface="+mn-ea"/>
          <a:cs typeface="+mn-cs"/>
        </a:defRPr>
      </a:lvl3pPr>
      <a:lvl4pPr marL="68580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 kern="800">
          <a:solidFill>
            <a:srgbClr val="414043"/>
          </a:solidFill>
          <a:latin typeface="+mn-lt"/>
          <a:ea typeface="+mn-ea"/>
          <a:cs typeface="+mn-cs"/>
        </a:defRPr>
      </a:lvl4pPr>
      <a:lvl5pPr marL="85725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»"/>
        <a:defRPr sz="1200" kern="800">
          <a:solidFill>
            <a:srgbClr val="414043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4"/>
          <p:cNvSpPr>
            <a:spLocks noChangeArrowheads="1"/>
          </p:cNvSpPr>
          <p:nvPr/>
        </p:nvSpPr>
        <p:spPr bwMode="auto">
          <a:xfrm>
            <a:off x="0" y="4765719"/>
            <a:ext cx="9144000" cy="377825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65A4"/>
              </a:solidFill>
              <a:cs typeface="Arial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800" y="209594"/>
            <a:ext cx="8280400" cy="6143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800" y="842964"/>
            <a:ext cx="8280400" cy="34718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endParaRPr lang="en-US" dirty="0"/>
          </a:p>
        </p:txBody>
      </p:sp>
      <p:sp>
        <p:nvSpPr>
          <p:cNvPr id="1029" name="TextBox 50"/>
          <p:cNvSpPr txBox="1">
            <a:spLocks noChangeArrowheads="1"/>
          </p:cNvSpPr>
          <p:nvPr/>
        </p:nvSpPr>
        <p:spPr bwMode="auto">
          <a:xfrm>
            <a:off x="7308875" y="4803819"/>
            <a:ext cx="122822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>
                <a:solidFill>
                  <a:srgbClr val="D9D9D9"/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52" name="Straight Connector 51"/>
          <p:cNvCxnSpPr/>
          <p:nvPr/>
        </p:nvCxnSpPr>
        <p:spPr bwMode="auto">
          <a:xfrm>
            <a:off x="8604250" y="4889544"/>
            <a:ext cx="0" cy="920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31" name="Picture 52"/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2400" y="4765676"/>
            <a:ext cx="2553542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Slide Number Placeholder 3"/>
          <p:cNvSpPr txBox="1">
            <a:spLocks/>
          </p:cNvSpPr>
          <p:nvPr/>
        </p:nvSpPr>
        <p:spPr>
          <a:xfrm>
            <a:off x="8623388" y="4834836"/>
            <a:ext cx="360363" cy="19367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07400EA1-762A-4FF6-8A70-4141B3AE7845}" type="slidenum">
              <a:rPr lang="en-US" smtClean="0">
                <a:solidFill>
                  <a:prstClr val="white"/>
                </a:solidFill>
                <a:latin typeface="Calibri"/>
              </a:rPr>
              <a:pPr>
                <a:defRPr/>
              </a:pPr>
              <a:t>‹#›</a:t>
            </a:fld>
            <a:endParaRPr lang="en-IN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88952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7" r:id="rId1"/>
    <p:sldLayoutId id="2147484758" r:id="rId2"/>
    <p:sldLayoutId id="2147484759" r:id="rId3"/>
    <p:sldLayoutId id="2147484760" r:id="rId4"/>
    <p:sldLayoutId id="2147484761" r:id="rId5"/>
    <p:sldLayoutId id="2147484762" r:id="rId6"/>
    <p:sldLayoutId id="2147484763" r:id="rId7"/>
    <p:sldLayoutId id="2147484764" r:id="rId8"/>
    <p:sldLayoutId id="2147484765" r:id="rId9"/>
    <p:sldLayoutId id="2147484766" r:id="rId10"/>
    <p:sldLayoutId id="2147484767" r:id="rId11"/>
    <p:sldLayoutId id="2147484768" r:id="rId12"/>
    <p:sldLayoutId id="2147484769" r:id="rId13"/>
    <p:sldLayoutId id="2147484770" r:id="rId14"/>
    <p:sldLayoutId id="2147484771" r:id="rId15"/>
    <p:sldLayoutId id="2147484772" r:id="rId16"/>
    <p:sldLayoutId id="2147484773" r:id="rId17"/>
    <p:sldLayoutId id="2147484774" r:id="rId18"/>
    <p:sldLayoutId id="2147484775" r:id="rId19"/>
    <p:sldLayoutId id="2147484776" r:id="rId20"/>
    <p:sldLayoutId id="2147484777" r:id="rId21"/>
    <p:sldLayoutId id="2147484778" r:id="rId22"/>
    <p:sldLayoutId id="2147484779" r:id="rId23"/>
    <p:sldLayoutId id="2147484780" r:id="rId24"/>
    <p:sldLayoutId id="2147484781" r:id="rId25"/>
    <p:sldLayoutId id="2147484782" r:id="rId26"/>
    <p:sldLayoutId id="2147484783" r:id="rId27"/>
    <p:sldLayoutId id="2147484784" r:id="rId28"/>
    <p:sldLayoutId id="2147484785" r:id="rId29"/>
    <p:sldLayoutId id="2147484786" r:id="rId30"/>
    <p:sldLayoutId id="2147484787" r:id="rId31"/>
    <p:sldLayoutId id="2147484788" r:id="rId32"/>
    <p:sldLayoutId id="2147484789" r:id="rId33"/>
    <p:sldLayoutId id="2147484790" r:id="rId34"/>
    <p:sldLayoutId id="2147484791" r:id="rId35"/>
    <p:sldLayoutId id="2147484792" r:id="rId36"/>
    <p:sldLayoutId id="2147484793" r:id="rId37"/>
    <p:sldLayoutId id="2147484794" r:id="rId38"/>
    <p:sldLayoutId id="2147484795" r:id="rId39"/>
    <p:sldLayoutId id="2147484796" r:id="rId40"/>
    <p:sldLayoutId id="2147484797" r:id="rId41"/>
    <p:sldLayoutId id="2147484798" r:id="rId42"/>
  </p:sldLayoutIdLst>
  <p:txStyles>
    <p:titleStyle>
      <a:lvl1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 kern="800" spc="-40">
          <a:solidFill>
            <a:srgbClr val="0065A4"/>
          </a:solidFill>
          <a:latin typeface="+mj-lt"/>
          <a:ea typeface="+mj-ea"/>
          <a:cs typeface="+mj-cs"/>
        </a:defRPr>
      </a:lvl1pPr>
      <a:lvl2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2pPr>
      <a:lvl3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3pPr>
      <a:lvl4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4pPr>
      <a:lvl5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5pPr>
      <a:lvl6pPr marL="4572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6pPr>
      <a:lvl7pPr marL="9144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7pPr>
      <a:lvl8pPr marL="13716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8pPr>
      <a:lvl9pPr marL="18288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9pPr>
    </p:titleStyle>
    <p:bodyStyle>
      <a:lvl1pPr marL="228600" indent="-228600" algn="l" defTabSz="912813" rtl="0" eaLnBrk="1" fontAlgn="base" hangingPunct="1">
        <a:spcBef>
          <a:spcPct val="20000"/>
        </a:spcBef>
        <a:spcAft>
          <a:spcPct val="0"/>
        </a:spcAft>
        <a:buFont typeface="Calibri" pitchFamily="34" charset="0"/>
        <a:buAutoNum type="arabicPeriod"/>
        <a:defRPr sz="1200" kern="800" spc="-10">
          <a:solidFill>
            <a:srgbClr val="414043"/>
          </a:solidFill>
          <a:latin typeface="+mn-lt"/>
          <a:ea typeface="+mn-ea"/>
          <a:cs typeface="+mn-cs"/>
        </a:defRPr>
      </a:lvl1pPr>
      <a:lvl2pPr marL="342900" indent="-171450" algn="l" defTabSz="912813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200" kern="800">
          <a:solidFill>
            <a:srgbClr val="414043"/>
          </a:solidFill>
          <a:latin typeface="+mn-lt"/>
          <a:ea typeface="+mn-ea"/>
          <a:cs typeface="+mn-cs"/>
        </a:defRPr>
      </a:lvl2pPr>
      <a:lvl3pPr marL="51435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200" kern="800">
          <a:solidFill>
            <a:srgbClr val="414043"/>
          </a:solidFill>
          <a:latin typeface="+mn-lt"/>
          <a:ea typeface="+mn-ea"/>
          <a:cs typeface="+mn-cs"/>
        </a:defRPr>
      </a:lvl3pPr>
      <a:lvl4pPr marL="68580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 kern="800">
          <a:solidFill>
            <a:srgbClr val="414043"/>
          </a:solidFill>
          <a:latin typeface="+mn-lt"/>
          <a:ea typeface="+mn-ea"/>
          <a:cs typeface="+mn-cs"/>
        </a:defRPr>
      </a:lvl4pPr>
      <a:lvl5pPr marL="85725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»"/>
        <a:defRPr sz="1200" kern="800">
          <a:solidFill>
            <a:srgbClr val="414043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023" b="16727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bject 4"/>
          <p:cNvSpPr/>
          <p:nvPr/>
        </p:nvSpPr>
        <p:spPr>
          <a:xfrm>
            <a:off x="731873" y="700089"/>
            <a:ext cx="3976687" cy="3959225"/>
          </a:xfrm>
          <a:custGeom>
            <a:avLst/>
            <a:gdLst/>
            <a:ahLst/>
            <a:cxnLst/>
            <a:rect l="l" t="t" r="r" b="b"/>
            <a:pathLst>
              <a:path w="4269105" h="3721100">
                <a:moveTo>
                  <a:pt x="4268685" y="3720871"/>
                </a:moveTo>
                <a:lnTo>
                  <a:pt x="0" y="3720871"/>
                </a:lnTo>
                <a:lnTo>
                  <a:pt x="0" y="0"/>
                </a:lnTo>
                <a:lnTo>
                  <a:pt x="4268685" y="0"/>
                </a:lnTo>
                <a:lnTo>
                  <a:pt x="4268685" y="3720871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b="1" dirty="0">
              <a:solidFill>
                <a:prstClr val="black"/>
              </a:solidFill>
            </a:endParaRPr>
          </a:p>
        </p:txBody>
      </p:sp>
      <p:pic>
        <p:nvPicPr>
          <p:cNvPr id="4100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213" y="1131888"/>
            <a:ext cx="2193925" cy="201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1" name="Title Placeholder 1"/>
          <p:cNvSpPr>
            <a:spLocks noGrp="1"/>
          </p:cNvSpPr>
          <p:nvPr>
            <p:ph type="title"/>
          </p:nvPr>
        </p:nvSpPr>
        <p:spPr bwMode="auto">
          <a:xfrm>
            <a:off x="1008063" y="1779609"/>
            <a:ext cx="3371850" cy="201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over Slide</a:t>
            </a:r>
          </a:p>
        </p:txBody>
      </p:sp>
      <p:sp>
        <p:nvSpPr>
          <p:cNvPr id="410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008071" y="3867150"/>
            <a:ext cx="3444875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7756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0" r:id="rId1"/>
    <p:sldLayoutId id="2147484802" r:id="rId2"/>
    <p:sldLayoutId id="2147484803" r:id="rId3"/>
  </p:sldLayoutIdLst>
  <p:txStyles>
    <p:titleStyle>
      <a:lvl1pPr algn="l" rtl="0" fontAlgn="base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 Light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 Light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 Light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 Light" pitchFamily="34" charset="0"/>
        </a:defRPr>
      </a:lvl9pPr>
    </p:titleStyle>
    <p:bodyStyle>
      <a:lvl1pPr algn="l" rtl="0" fontAlgn="base">
        <a:spcBef>
          <a:spcPct val="20000"/>
        </a:spcBef>
        <a:spcAft>
          <a:spcPct val="0"/>
        </a:spcAft>
        <a:buFont typeface="Arial" charset="0"/>
        <a:defRPr sz="1200" kern="1200">
          <a:solidFill>
            <a:schemeClr val="tx1"/>
          </a:solidFill>
          <a:latin typeface="+mj-lt"/>
          <a:ea typeface="+mn-ea"/>
          <a:cs typeface="+mn-cs"/>
        </a:defRPr>
      </a:lvl1pPr>
      <a:lvl2pPr marL="457200" algn="l" rtl="0" fontAlgn="base">
        <a:spcBef>
          <a:spcPct val="20000"/>
        </a:spcBef>
        <a:spcAft>
          <a:spcPct val="0"/>
        </a:spcAft>
        <a:buFont typeface="Arial" charset="0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charset="0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fontAlgn="base">
        <a:spcBef>
          <a:spcPct val="20000"/>
        </a:spcBef>
        <a:spcAft>
          <a:spcPct val="0"/>
        </a:spcAft>
        <a:buFont typeface="Arial" charset="0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fontAlgn="base">
        <a:spcBef>
          <a:spcPct val="20000"/>
        </a:spcBef>
        <a:spcAft>
          <a:spcPct val="0"/>
        </a:spcAft>
        <a:buFont typeface="Arial" charset="0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1800" b="1" i="0" u="none" strike="noStrike" cap="none" normalizeH="0" baseline="0" dirty="0">
              <a:ln>
                <a:noFill/>
              </a:ln>
              <a:solidFill>
                <a:srgbClr val="0065A4"/>
              </a:solidFill>
              <a:effectLst/>
              <a:latin typeface="Arial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540" y="123526"/>
            <a:ext cx="8280920" cy="61317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540" y="843559"/>
            <a:ext cx="8280920" cy="347067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308311" y="4804046"/>
            <a:ext cx="12282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000" b="0" dirty="0">
                <a:solidFill>
                  <a:schemeClr val="bg1">
                    <a:lumMod val="85000"/>
                  </a:schemeClr>
                </a:solidFill>
                <a:latin typeface="+mj-lt"/>
                <a:cs typeface="Calibri" pitchFamily="34" charset="0"/>
              </a:rPr>
              <a:t>www.infocepts.com</a:t>
            </a:r>
          </a:p>
        </p:txBody>
      </p:sp>
      <p:cxnSp>
        <p:nvCxnSpPr>
          <p:cNvPr id="52" name="Straight Connector 51"/>
          <p:cNvCxnSpPr/>
          <p:nvPr/>
        </p:nvCxnSpPr>
        <p:spPr bwMode="auto">
          <a:xfrm>
            <a:off x="8604448" y="4889082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53" name="Picture 52"/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36" y="4836764"/>
            <a:ext cx="2044111" cy="210210"/>
          </a:xfrm>
          <a:prstGeom prst="rect">
            <a:avLst/>
          </a:prstGeom>
        </p:spPr>
      </p:pic>
      <p:sp>
        <p:nvSpPr>
          <p:cNvPr id="54" name="Slide Number Placeholder 3"/>
          <p:cNvSpPr txBox="1">
            <a:spLocks/>
          </p:cNvSpPr>
          <p:nvPr/>
        </p:nvSpPr>
        <p:spPr>
          <a:xfrm>
            <a:off x="8624074" y="4826210"/>
            <a:ext cx="360040" cy="19378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24575E5D-BFCE-4DD2-BF0B-AE07218CB3C2}" type="slidenum">
              <a:rPr lang="en-US" b="0" smtClean="0">
                <a:solidFill>
                  <a:schemeClr val="bg1"/>
                </a:solidFill>
                <a:latin typeface="+mj-lt"/>
              </a:rPr>
              <a:t>‹#›</a:t>
            </a:fld>
            <a:endParaRPr lang="en-IN" b="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29730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5" r:id="rId1"/>
    <p:sldLayoutId id="2147484806" r:id="rId2"/>
    <p:sldLayoutId id="2147484807" r:id="rId3"/>
    <p:sldLayoutId id="2147484808" r:id="rId4"/>
    <p:sldLayoutId id="2147484809" r:id="rId5"/>
    <p:sldLayoutId id="2147484810" r:id="rId6"/>
    <p:sldLayoutId id="2147484811" r:id="rId7"/>
    <p:sldLayoutId id="2147484812" r:id="rId8"/>
    <p:sldLayoutId id="2147484813" r:id="rId9"/>
    <p:sldLayoutId id="2147484814" r:id="rId10"/>
    <p:sldLayoutId id="2147484815" r:id="rId11"/>
    <p:sldLayoutId id="2147484816" r:id="rId12"/>
    <p:sldLayoutId id="2147484817" r:id="rId13"/>
    <p:sldLayoutId id="2147484818" r:id="rId14"/>
    <p:sldLayoutId id="2147484819" r:id="rId15"/>
    <p:sldLayoutId id="2147484820" r:id="rId16"/>
    <p:sldLayoutId id="2147484821" r:id="rId17"/>
    <p:sldLayoutId id="2147484822" r:id="rId18"/>
    <p:sldLayoutId id="2147484823" r:id="rId19"/>
    <p:sldLayoutId id="2147484824" r:id="rId20"/>
    <p:sldLayoutId id="2147484825" r:id="rId21"/>
    <p:sldLayoutId id="2147484826" r:id="rId22"/>
    <p:sldLayoutId id="2147484827" r:id="rId23"/>
    <p:sldLayoutId id="2147484828" r:id="rId24"/>
    <p:sldLayoutId id="2147484829" r:id="rId25"/>
    <p:sldLayoutId id="2147484830" r:id="rId26"/>
    <p:sldLayoutId id="2147484831" r:id="rId27"/>
    <p:sldLayoutId id="2147484832" r:id="rId28"/>
    <p:sldLayoutId id="2147484833" r:id="rId29"/>
    <p:sldLayoutId id="2147484834" r:id="rId30"/>
    <p:sldLayoutId id="2147484835" r:id="rId31"/>
    <p:sldLayoutId id="2147484836" r:id="rId32"/>
    <p:sldLayoutId id="2147484837" r:id="rId33"/>
    <p:sldLayoutId id="2147484838" r:id="rId34"/>
    <p:sldLayoutId id="2147484839" r:id="rId35"/>
    <p:sldLayoutId id="2147484840" r:id="rId36"/>
    <p:sldLayoutId id="2147484841" r:id="rId37"/>
    <p:sldLayoutId id="2147484842" r:id="rId38"/>
    <p:sldLayoutId id="2147484843" r:id="rId39"/>
    <p:sldLayoutId id="2147484844" r:id="rId40"/>
    <p:sldLayoutId id="2147484845" r:id="rId41"/>
    <p:sldLayoutId id="2147484846" r:id="rId42"/>
    <p:sldLayoutId id="2147484847" r:id="rId43"/>
  </p:sldLayoutIdLst>
  <p:txStyles>
    <p:titleStyle>
      <a:lvl1pPr algn="l" defTabSz="914378" rtl="0" eaLnBrk="1" latinLnBrk="0" hangingPunct="1">
        <a:lnSpc>
          <a:spcPct val="86000"/>
        </a:lnSpc>
        <a:spcBef>
          <a:spcPct val="0"/>
        </a:spcBef>
        <a:buNone/>
        <a:defRPr sz="2400" kern="800" spc="-4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200" kern="800" spc="-1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1pPr>
      <a:lvl2pPr marL="344480" indent="-17303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200" kern="8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2pPr>
      <a:lvl3pPr marL="515925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200" kern="8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3pPr>
      <a:lvl4pPr marL="687371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200" kern="8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4pPr>
      <a:lvl5pPr marL="858817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200" kern="8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22" tIns="45660" rIns="91322" bIns="4566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5" y="4867919"/>
            <a:ext cx="1258440" cy="246100"/>
          </a:xfrm>
          <a:prstGeom prst="rect">
            <a:avLst/>
          </a:prstGeom>
          <a:noFill/>
        </p:spPr>
        <p:txBody>
          <a:bodyPr wrap="none" lIns="91322" tIns="45660" rIns="91322" bIns="4566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58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322" tIns="45660" rIns="91322" bIns="4566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65"/>
            <a:ext cx="8229600" cy="3394472"/>
          </a:xfrm>
          <a:prstGeom prst="rect">
            <a:avLst/>
          </a:prstGeom>
        </p:spPr>
        <p:txBody>
          <a:bodyPr vert="horz" lIns="91322" tIns="45660" rIns="91322" bIns="4566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 lIns="91322" tIns="45660" rIns="91322" bIns="45660"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 lIns="91322" tIns="45660" rIns="91322" bIns="45660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>
                <a:solidFill>
                  <a:prstClr val="white"/>
                </a:solidFill>
                <a:latin typeface="Calibri"/>
              </a:rPr>
              <a:t>&lt;#&gt;</a:t>
            </a:r>
            <a:endParaRPr lang="en-IN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50" y="4855243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3575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</p:sldLayoutIdLst>
  <p:hf hdr="0" dt="0"/>
  <p:txStyles>
    <p:titleStyle>
      <a:lvl1pPr algn="l" defTabSz="913227" rtl="0" eaLnBrk="1" latinLnBrk="0" hangingPunct="1">
        <a:spcBef>
          <a:spcPct val="0"/>
        </a:spcBef>
        <a:buNone/>
        <a:defRPr sz="28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457" indent="-342457" algn="l" defTabSz="913227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386" indent="-285386" algn="l" defTabSz="913227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226" indent="-228306" algn="l" defTabSz="913227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8583" indent="-228306" algn="l" defTabSz="808583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4945" indent="-228306" algn="l" defTabSz="913227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1374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7988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4598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213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15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27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38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51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65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82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92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06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4"/>
          <p:cNvSpPr>
            <a:spLocks noChangeArrowheads="1"/>
          </p:cNvSpPr>
          <p:nvPr/>
        </p:nvSpPr>
        <p:spPr bwMode="auto">
          <a:xfrm>
            <a:off x="0" y="4765719"/>
            <a:ext cx="9144000" cy="377825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dirty="0">
              <a:solidFill>
                <a:srgbClr val="0065A4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800" y="209594"/>
            <a:ext cx="8280400" cy="6143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800" y="842964"/>
            <a:ext cx="8280400" cy="34718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endParaRPr lang="en-US" dirty="0"/>
          </a:p>
        </p:txBody>
      </p:sp>
      <p:sp>
        <p:nvSpPr>
          <p:cNvPr id="1029" name="TextBox 50"/>
          <p:cNvSpPr txBox="1">
            <a:spLocks noChangeArrowheads="1"/>
          </p:cNvSpPr>
          <p:nvPr/>
        </p:nvSpPr>
        <p:spPr bwMode="auto">
          <a:xfrm>
            <a:off x="7308875" y="4803819"/>
            <a:ext cx="122822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en-US" sz="1000" b="0" dirty="0">
                <a:solidFill>
                  <a:srgbClr val="D9D9D9"/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52" name="Straight Connector 51"/>
          <p:cNvCxnSpPr/>
          <p:nvPr/>
        </p:nvCxnSpPr>
        <p:spPr bwMode="auto">
          <a:xfrm>
            <a:off x="8604250" y="4889544"/>
            <a:ext cx="0" cy="920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31" name="Picture 52"/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2400" y="4765676"/>
            <a:ext cx="2553542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Slide Number Placeholder 3"/>
          <p:cNvSpPr txBox="1">
            <a:spLocks/>
          </p:cNvSpPr>
          <p:nvPr/>
        </p:nvSpPr>
        <p:spPr>
          <a:xfrm>
            <a:off x="8623388" y="4834836"/>
            <a:ext cx="360363" cy="19367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07400EA1-762A-4FF6-8A70-4141B3AE7845}" type="slidenum">
              <a:rPr lang="en-US" smtClean="0">
                <a:latin typeface="+mj-lt"/>
              </a:rPr>
              <a:pPr>
                <a:defRPr/>
              </a:pPr>
              <a:t>‹#›</a:t>
            </a:fld>
            <a:endParaRPr lang="en-IN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8651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9" r:id="rId1"/>
    <p:sldLayoutId id="2147484850" r:id="rId2"/>
    <p:sldLayoutId id="2147484851" r:id="rId3"/>
    <p:sldLayoutId id="2147484852" r:id="rId4"/>
    <p:sldLayoutId id="2147484853" r:id="rId5"/>
    <p:sldLayoutId id="2147484854" r:id="rId6"/>
    <p:sldLayoutId id="2147484855" r:id="rId7"/>
    <p:sldLayoutId id="2147484856" r:id="rId8"/>
    <p:sldLayoutId id="2147484857" r:id="rId9"/>
    <p:sldLayoutId id="2147484858" r:id="rId10"/>
    <p:sldLayoutId id="2147484859" r:id="rId11"/>
    <p:sldLayoutId id="2147484860" r:id="rId12"/>
    <p:sldLayoutId id="2147484861" r:id="rId13"/>
    <p:sldLayoutId id="2147484862" r:id="rId14"/>
    <p:sldLayoutId id="2147484863" r:id="rId15"/>
    <p:sldLayoutId id="2147484864" r:id="rId16"/>
    <p:sldLayoutId id="2147484865" r:id="rId17"/>
    <p:sldLayoutId id="2147484866" r:id="rId18"/>
    <p:sldLayoutId id="2147484867" r:id="rId19"/>
    <p:sldLayoutId id="2147484868" r:id="rId20"/>
    <p:sldLayoutId id="2147484869" r:id="rId21"/>
    <p:sldLayoutId id="2147484870" r:id="rId22"/>
    <p:sldLayoutId id="2147484871" r:id="rId23"/>
    <p:sldLayoutId id="2147484872" r:id="rId24"/>
    <p:sldLayoutId id="2147484873" r:id="rId25"/>
    <p:sldLayoutId id="2147484874" r:id="rId26"/>
    <p:sldLayoutId id="2147484875" r:id="rId27"/>
    <p:sldLayoutId id="2147484876" r:id="rId28"/>
    <p:sldLayoutId id="2147484877" r:id="rId29"/>
    <p:sldLayoutId id="2147484878" r:id="rId30"/>
    <p:sldLayoutId id="2147484879" r:id="rId31"/>
    <p:sldLayoutId id="2147484880" r:id="rId32"/>
    <p:sldLayoutId id="2147484881" r:id="rId33"/>
    <p:sldLayoutId id="2147484882" r:id="rId34"/>
    <p:sldLayoutId id="2147484883" r:id="rId35"/>
    <p:sldLayoutId id="2147484884" r:id="rId36"/>
    <p:sldLayoutId id="2147484885" r:id="rId37"/>
    <p:sldLayoutId id="2147484886" r:id="rId38"/>
    <p:sldLayoutId id="2147484887" r:id="rId39"/>
    <p:sldLayoutId id="2147484888" r:id="rId40"/>
    <p:sldLayoutId id="2147484889" r:id="rId41"/>
    <p:sldLayoutId id="2147484890" r:id="rId42"/>
  </p:sldLayoutIdLst>
  <p:txStyles>
    <p:titleStyle>
      <a:lvl1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 kern="800" spc="-40">
          <a:solidFill>
            <a:srgbClr val="0065A4"/>
          </a:solidFill>
          <a:latin typeface="+mj-lt"/>
          <a:ea typeface="+mj-ea"/>
          <a:cs typeface="+mj-cs"/>
        </a:defRPr>
      </a:lvl1pPr>
      <a:lvl2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2pPr>
      <a:lvl3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3pPr>
      <a:lvl4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4pPr>
      <a:lvl5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5pPr>
      <a:lvl6pPr marL="4572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6pPr>
      <a:lvl7pPr marL="9144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7pPr>
      <a:lvl8pPr marL="13716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8pPr>
      <a:lvl9pPr marL="18288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9pPr>
    </p:titleStyle>
    <p:bodyStyle>
      <a:lvl1pPr marL="228600" indent="-228600" algn="l" defTabSz="912813" rtl="0" eaLnBrk="1" fontAlgn="base" hangingPunct="1">
        <a:spcBef>
          <a:spcPct val="20000"/>
        </a:spcBef>
        <a:spcAft>
          <a:spcPct val="0"/>
        </a:spcAft>
        <a:buFont typeface="Calibri" pitchFamily="34" charset="0"/>
        <a:buAutoNum type="arabicPeriod"/>
        <a:defRPr sz="1200" kern="800" spc="-10">
          <a:solidFill>
            <a:srgbClr val="414043"/>
          </a:solidFill>
          <a:latin typeface="+mn-lt"/>
          <a:ea typeface="+mn-ea"/>
          <a:cs typeface="+mn-cs"/>
        </a:defRPr>
      </a:lvl1pPr>
      <a:lvl2pPr marL="342900" indent="-171450" algn="l" defTabSz="912813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200" kern="800">
          <a:solidFill>
            <a:srgbClr val="414043"/>
          </a:solidFill>
          <a:latin typeface="+mn-lt"/>
          <a:ea typeface="+mn-ea"/>
          <a:cs typeface="+mn-cs"/>
        </a:defRPr>
      </a:lvl2pPr>
      <a:lvl3pPr marL="51435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200" kern="800">
          <a:solidFill>
            <a:srgbClr val="414043"/>
          </a:solidFill>
          <a:latin typeface="+mn-lt"/>
          <a:ea typeface="+mn-ea"/>
          <a:cs typeface="+mn-cs"/>
        </a:defRPr>
      </a:lvl3pPr>
      <a:lvl4pPr marL="68580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 kern="800">
          <a:solidFill>
            <a:srgbClr val="414043"/>
          </a:solidFill>
          <a:latin typeface="+mn-lt"/>
          <a:ea typeface="+mn-ea"/>
          <a:cs typeface="+mn-cs"/>
        </a:defRPr>
      </a:lvl4pPr>
      <a:lvl5pPr marL="85725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»"/>
        <a:defRPr sz="1200" kern="800">
          <a:solidFill>
            <a:srgbClr val="414043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557"/>
            <a:ext cx="8229600" cy="648073"/>
          </a:xfrm>
          <a:prstGeom prst="rect">
            <a:avLst/>
          </a:prstGeom>
        </p:spPr>
        <p:txBody>
          <a:bodyPr vert="horz" lIns="91358" tIns="45702" rIns="91358" bIns="45702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8"/>
            <a:ext cx="8229600" cy="3394474"/>
          </a:xfrm>
          <a:prstGeom prst="rect">
            <a:avLst/>
          </a:prstGeom>
        </p:spPr>
        <p:txBody>
          <a:bodyPr vert="horz" lIns="91358" tIns="45702" rIns="91358" bIns="45702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6" y="3922297"/>
            <a:ext cx="360040" cy="193725"/>
          </a:xfrm>
          <a:prstGeom prst="rect">
            <a:avLst/>
          </a:prstGeom>
        </p:spPr>
        <p:txBody>
          <a:bodyPr lIns="68519" tIns="34277" rIns="68519" bIns="34277"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sz="60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-18000" y="4765458"/>
            <a:ext cx="9180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41" tIns="34289" rIns="68541" bIns="34289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N" sz="1425" b="1" dirty="0">
              <a:solidFill>
                <a:srgbClr val="0065A4"/>
              </a:solidFill>
              <a:latin typeface="Arial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380317" y="4879057"/>
            <a:ext cx="1129077" cy="196206"/>
          </a:xfrm>
          <a:prstGeom prst="rect">
            <a:avLst/>
          </a:prstGeom>
          <a:noFill/>
        </p:spPr>
        <p:txBody>
          <a:bodyPr wrap="none" lIns="68541" tIns="34289" rIns="68541" bIns="34289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sz="825" b="1" dirty="0">
                <a:solidFill>
                  <a:prstClr val="white">
                    <a:lumMod val="85000"/>
                  </a:prstClr>
                </a:solidFill>
                <a:cs typeface="Calibri" pitchFamily="34" charset="0"/>
              </a:rPr>
              <a:t>www.infocepts.com</a:t>
            </a:r>
          </a:p>
        </p:txBody>
      </p:sp>
      <p:sp>
        <p:nvSpPr>
          <p:cNvPr id="2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50" y="4874525"/>
            <a:ext cx="360040" cy="193725"/>
          </a:xfrm>
          <a:prstGeom prst="rect">
            <a:avLst/>
          </a:prstGeom>
        </p:spPr>
        <p:txBody>
          <a:bodyPr lIns="91388" tIns="45718" rIns="91388" bIns="45718" anchor="ctr"/>
          <a:lstStyle>
            <a:lvl1pPr algn="ctr">
              <a:defRPr sz="600" b="0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D6B6D77-A64C-4787-A359-D8060FE55565}" type="slidenum">
              <a:rPr lang="en-IN" smtClean="0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8626366" y="4885661"/>
            <a:ext cx="0" cy="171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5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6631" y="4818899"/>
            <a:ext cx="1915157" cy="264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8845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2" r:id="rId1"/>
    <p:sldLayoutId id="2147484893" r:id="rId2"/>
    <p:sldLayoutId id="2147484894" r:id="rId3"/>
    <p:sldLayoutId id="2147484895" r:id="rId4"/>
  </p:sldLayoutIdLst>
  <p:hf hdr="0" ftr="0" dt="0"/>
  <p:txStyles>
    <p:titleStyle>
      <a:lvl1pPr algn="l" defTabSz="685221" rtl="0" eaLnBrk="1" latinLnBrk="0" hangingPunct="1">
        <a:spcBef>
          <a:spcPct val="0"/>
        </a:spcBef>
        <a:buNone/>
        <a:defRPr sz="2025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256967" indent="-256967" algn="l" defTabSz="685221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425" kern="1200">
          <a:solidFill>
            <a:schemeClr val="tx1"/>
          </a:solidFill>
          <a:latin typeface="+mn-lt"/>
          <a:ea typeface="+mn-ea"/>
          <a:cs typeface="+mn-cs"/>
        </a:defRPr>
      </a:lvl1pPr>
      <a:lvl2pPr marL="214140" indent="-214140" algn="l" defTabSz="685221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425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406854" indent="-171312" algn="l" defTabSz="685221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425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606708" indent="-171312" algn="l" defTabSz="606708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806563" indent="-171312" algn="l" defTabSz="685221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975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884354" indent="-171312" algn="l" defTabSz="685221" rtl="0" eaLnBrk="1" latinLnBrk="0" hangingPunct="1">
        <a:spcBef>
          <a:spcPct val="20000"/>
        </a:spcBef>
        <a:buFont typeface="Arial" pitchFamily="34" charset="0"/>
        <a:buChar char="•"/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2226966" indent="-171312" algn="l" defTabSz="685221" rtl="0" eaLnBrk="1" latinLnBrk="0" hangingPunct="1">
        <a:spcBef>
          <a:spcPct val="20000"/>
        </a:spcBef>
        <a:buFont typeface="Arial" pitchFamily="34" charset="0"/>
        <a:buChar char="•"/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2569577" indent="-171312" algn="l" defTabSz="685221" rtl="0" eaLnBrk="1" latinLnBrk="0" hangingPunct="1">
        <a:spcBef>
          <a:spcPct val="20000"/>
        </a:spcBef>
        <a:buFont typeface="Arial" pitchFamily="34" charset="0"/>
        <a:buChar char="•"/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2912201" indent="-171312" algn="l" defTabSz="685221" rtl="0" eaLnBrk="1" latinLnBrk="0" hangingPunct="1">
        <a:spcBef>
          <a:spcPct val="20000"/>
        </a:spcBef>
        <a:buFont typeface="Arial" pitchFamily="34" charset="0"/>
        <a:buChar char="•"/>
        <a:defRPr sz="14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22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1pPr>
      <a:lvl2pPr marL="342599" algn="l" defTabSz="68522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2pPr>
      <a:lvl3pPr marL="685221" algn="l" defTabSz="68522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3pPr>
      <a:lvl4pPr marL="1027833" algn="l" defTabSz="68522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4pPr>
      <a:lvl5pPr marL="1370445" algn="l" defTabSz="68522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5pPr>
      <a:lvl6pPr marL="1713068" algn="l" defTabSz="68522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2055665" algn="l" defTabSz="68522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2398265" algn="l" defTabSz="68522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2740862" algn="l" defTabSz="68522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N" sz="1350" b="1" dirty="0">
              <a:solidFill>
                <a:srgbClr val="0065A4"/>
              </a:solidFill>
              <a:latin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36" y="4867963"/>
            <a:ext cx="1090363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750" b="1" dirty="0">
                <a:solidFill>
                  <a:prstClr val="white">
                    <a:lumMod val="85000"/>
                  </a:prstClr>
                </a:solidFill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08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6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3" y="3922297"/>
            <a:ext cx="360040" cy="19372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sz="600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9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fld id="{F8D37965-ABA5-45D9-A9FE-8AB781AA6376}" type="slidenum">
              <a:rPr lang="en-IN" smtClean="0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50" y="4855084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471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8" r:id="rId1"/>
    <p:sldLayoutId id="2147484899" r:id="rId2"/>
    <p:sldLayoutId id="2147484900" r:id="rId3"/>
    <p:sldLayoutId id="2147484901" r:id="rId4"/>
    <p:sldLayoutId id="2147484902" r:id="rId5"/>
    <p:sldLayoutId id="2147484903" r:id="rId6"/>
    <p:sldLayoutId id="2147484904" r:id="rId7"/>
    <p:sldLayoutId id="2147484905" r:id="rId8"/>
    <p:sldLayoutId id="2147484906" r:id="rId9"/>
  </p:sldLayoutIdLst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214313" indent="-214313" algn="l" defTabSz="6858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3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407194" indent="-171450" algn="l" defTabSz="6858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3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607219" indent="-171450" algn="l" defTabSz="607219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807244" indent="-171450" algn="l" defTabSz="6858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0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4"/>
          <p:cNvSpPr>
            <a:spLocks noChangeArrowheads="1"/>
          </p:cNvSpPr>
          <p:nvPr/>
        </p:nvSpPr>
        <p:spPr bwMode="auto">
          <a:xfrm>
            <a:off x="0" y="4765722"/>
            <a:ext cx="9144000" cy="377825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9" tIns="45714" rIns="91429" bIns="45714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65A4"/>
              </a:solidFill>
              <a:cs typeface="Arial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800" y="209597"/>
            <a:ext cx="8280400" cy="6143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800" y="842964"/>
            <a:ext cx="8280400" cy="34718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endParaRPr lang="en-US" dirty="0"/>
          </a:p>
        </p:txBody>
      </p:sp>
      <p:sp>
        <p:nvSpPr>
          <p:cNvPr id="1029" name="TextBox 50"/>
          <p:cNvSpPr txBox="1">
            <a:spLocks noChangeArrowheads="1"/>
          </p:cNvSpPr>
          <p:nvPr/>
        </p:nvSpPr>
        <p:spPr bwMode="auto">
          <a:xfrm>
            <a:off x="7308860" y="4803822"/>
            <a:ext cx="1228199" cy="246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9" tIns="45714" rIns="91429" bIns="45714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>
                <a:solidFill>
                  <a:srgbClr val="D9D9D9"/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52" name="Straight Connector 51"/>
          <p:cNvCxnSpPr/>
          <p:nvPr/>
        </p:nvCxnSpPr>
        <p:spPr bwMode="auto">
          <a:xfrm>
            <a:off x="8604250" y="4889547"/>
            <a:ext cx="0" cy="920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31" name="Picture 52"/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2400" y="4765679"/>
            <a:ext cx="2553542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Slide Number Placeholder 3"/>
          <p:cNvSpPr txBox="1">
            <a:spLocks/>
          </p:cNvSpPr>
          <p:nvPr/>
        </p:nvSpPr>
        <p:spPr>
          <a:xfrm>
            <a:off x="8623392" y="4834839"/>
            <a:ext cx="360363" cy="193675"/>
          </a:xfrm>
          <a:prstGeom prst="rect">
            <a:avLst/>
          </a:prstGeom>
        </p:spPr>
        <p:txBody>
          <a:bodyPr lIns="91429" tIns="45714" rIns="91429" bIns="45714"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07400EA1-762A-4FF6-8A70-4141B3AE7845}" type="slidenum">
              <a:rPr lang="en-US" smtClean="0">
                <a:solidFill>
                  <a:prstClr val="white"/>
                </a:solidFill>
                <a:latin typeface="Calibri"/>
              </a:rPr>
              <a:pPr>
                <a:defRPr/>
              </a:pPr>
              <a:t>‹#›</a:t>
            </a:fld>
            <a:endParaRPr lang="en-IN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54164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1" r:id="rId1"/>
    <p:sldLayoutId id="2147484952" r:id="rId2"/>
    <p:sldLayoutId id="2147484953" r:id="rId3"/>
    <p:sldLayoutId id="2147484954" r:id="rId4"/>
    <p:sldLayoutId id="2147484955" r:id="rId5"/>
    <p:sldLayoutId id="2147484956" r:id="rId6"/>
    <p:sldLayoutId id="2147484957" r:id="rId7"/>
    <p:sldLayoutId id="2147484958" r:id="rId8"/>
    <p:sldLayoutId id="2147484959" r:id="rId9"/>
    <p:sldLayoutId id="2147484960" r:id="rId10"/>
    <p:sldLayoutId id="2147484961" r:id="rId11"/>
    <p:sldLayoutId id="2147484962" r:id="rId12"/>
    <p:sldLayoutId id="2147484963" r:id="rId13"/>
    <p:sldLayoutId id="2147484964" r:id="rId14"/>
    <p:sldLayoutId id="2147484965" r:id="rId15"/>
    <p:sldLayoutId id="2147484966" r:id="rId16"/>
    <p:sldLayoutId id="2147484967" r:id="rId17"/>
    <p:sldLayoutId id="2147484968" r:id="rId18"/>
    <p:sldLayoutId id="2147484969" r:id="rId19"/>
    <p:sldLayoutId id="2147484970" r:id="rId20"/>
    <p:sldLayoutId id="2147484971" r:id="rId21"/>
    <p:sldLayoutId id="2147484972" r:id="rId22"/>
    <p:sldLayoutId id="2147484973" r:id="rId23"/>
    <p:sldLayoutId id="2147484974" r:id="rId24"/>
    <p:sldLayoutId id="2147484975" r:id="rId25"/>
    <p:sldLayoutId id="2147484976" r:id="rId26"/>
    <p:sldLayoutId id="2147484977" r:id="rId27"/>
    <p:sldLayoutId id="2147484978" r:id="rId28"/>
    <p:sldLayoutId id="2147484979" r:id="rId29"/>
    <p:sldLayoutId id="2147484980" r:id="rId30"/>
    <p:sldLayoutId id="2147484981" r:id="rId31"/>
    <p:sldLayoutId id="2147484982" r:id="rId32"/>
    <p:sldLayoutId id="2147484983" r:id="rId33"/>
    <p:sldLayoutId id="2147484984" r:id="rId34"/>
    <p:sldLayoutId id="2147484985" r:id="rId35"/>
    <p:sldLayoutId id="2147484986" r:id="rId36"/>
    <p:sldLayoutId id="2147484987" r:id="rId37"/>
    <p:sldLayoutId id="2147484988" r:id="rId38"/>
    <p:sldLayoutId id="2147484989" r:id="rId39"/>
    <p:sldLayoutId id="2147484990" r:id="rId40"/>
    <p:sldLayoutId id="2147484991" r:id="rId41"/>
    <p:sldLayoutId id="2147484992" r:id="rId42"/>
  </p:sldLayoutIdLst>
  <p:txStyles>
    <p:titleStyle>
      <a:lvl1pPr algn="l" defTabSz="912696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 kern="800" spc="-40">
          <a:solidFill>
            <a:srgbClr val="0065A4"/>
          </a:solidFill>
          <a:latin typeface="+mj-lt"/>
          <a:ea typeface="+mj-ea"/>
          <a:cs typeface="+mj-cs"/>
        </a:defRPr>
      </a:lvl1pPr>
      <a:lvl2pPr algn="l" defTabSz="912696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2pPr>
      <a:lvl3pPr algn="l" defTabSz="912696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3pPr>
      <a:lvl4pPr algn="l" defTabSz="912696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4pPr>
      <a:lvl5pPr algn="l" defTabSz="912696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5pPr>
      <a:lvl6pPr marL="457142" algn="l" defTabSz="912696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6pPr>
      <a:lvl7pPr marL="914282" algn="l" defTabSz="912696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7pPr>
      <a:lvl8pPr marL="1371424" algn="l" defTabSz="912696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8pPr>
      <a:lvl9pPr marL="1828566" algn="l" defTabSz="912696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9pPr>
    </p:titleStyle>
    <p:bodyStyle>
      <a:lvl1pPr marL="228571" indent="-228571" algn="l" defTabSz="912696" rtl="0" eaLnBrk="1" fontAlgn="base" hangingPunct="1">
        <a:spcBef>
          <a:spcPct val="20000"/>
        </a:spcBef>
        <a:spcAft>
          <a:spcPct val="0"/>
        </a:spcAft>
        <a:buFont typeface="Calibri" pitchFamily="34" charset="0"/>
        <a:buAutoNum type="arabicPeriod"/>
        <a:defRPr sz="1200" kern="800" spc="-10">
          <a:solidFill>
            <a:srgbClr val="414043"/>
          </a:solidFill>
          <a:latin typeface="+mn-lt"/>
          <a:ea typeface="+mn-ea"/>
          <a:cs typeface="+mn-cs"/>
        </a:defRPr>
      </a:lvl1pPr>
      <a:lvl2pPr marL="342856" indent="-171428" algn="l" defTabSz="912696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200" kern="800">
          <a:solidFill>
            <a:srgbClr val="414043"/>
          </a:solidFill>
          <a:latin typeface="+mn-lt"/>
          <a:ea typeface="+mn-ea"/>
          <a:cs typeface="+mn-cs"/>
        </a:defRPr>
      </a:lvl2pPr>
      <a:lvl3pPr marL="514284" indent="-169841" algn="l" defTabSz="912696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200" kern="800">
          <a:solidFill>
            <a:srgbClr val="414043"/>
          </a:solidFill>
          <a:latin typeface="+mn-lt"/>
          <a:ea typeface="+mn-ea"/>
          <a:cs typeface="+mn-cs"/>
        </a:defRPr>
      </a:lvl3pPr>
      <a:lvl4pPr marL="685712" indent="-169841" algn="l" defTabSz="912696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 kern="800">
          <a:solidFill>
            <a:srgbClr val="414043"/>
          </a:solidFill>
          <a:latin typeface="+mn-lt"/>
          <a:ea typeface="+mn-ea"/>
          <a:cs typeface="+mn-cs"/>
        </a:defRPr>
      </a:lvl4pPr>
      <a:lvl5pPr marL="857140" indent="-169841" algn="l" defTabSz="912696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»"/>
        <a:defRPr sz="1200" kern="800">
          <a:solidFill>
            <a:srgbClr val="414043"/>
          </a:solidFill>
          <a:latin typeface="+mn-lt"/>
          <a:ea typeface="+mn-ea"/>
          <a:cs typeface="+mn-cs"/>
        </a:defRPr>
      </a:lvl5pPr>
      <a:lvl6pPr marL="2514215" indent="-228564" algn="l" defTabSz="91426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46" indent="-228564" algn="l" defTabSz="91426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76" indent="-228564" algn="l" defTabSz="91426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05" indent="-228564" algn="l" defTabSz="91426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1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2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0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0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1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1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10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41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2" tIns="45711" rIns="91422" bIns="45711" numCol="1" rtlCol="0" anchor="t" anchorCtr="0" compatLnSpc="1">
            <a:prstTxWarp prst="textNoShape">
              <a:avLst/>
            </a:prstTxWarp>
          </a:bodyPr>
          <a:lstStyle/>
          <a:p>
            <a:pPr defTabSz="914193" fontAlgn="base">
              <a:spcBef>
                <a:spcPct val="0"/>
              </a:spcBef>
              <a:spcAft>
                <a:spcPct val="0"/>
              </a:spcAft>
            </a:pPr>
            <a:endParaRPr lang="en-IN" b="1" dirty="0">
              <a:solidFill>
                <a:srgbClr val="0065A4"/>
              </a:solidFill>
              <a:latin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2" y="4868304"/>
            <a:ext cx="1385279" cy="246203"/>
          </a:xfrm>
          <a:prstGeom prst="rect">
            <a:avLst/>
          </a:prstGeom>
          <a:noFill/>
        </p:spPr>
        <p:txBody>
          <a:bodyPr wrap="none" lIns="91422" tIns="45711" rIns="91422" bIns="45711" rtlCol="0">
            <a:spAutoFit/>
          </a:bodyPr>
          <a:lstStyle/>
          <a:p>
            <a:pPr defTabSz="914193"/>
            <a:r>
              <a:rPr lang="en-IN" sz="1000" b="1" dirty="0">
                <a:solidFill>
                  <a:prstClr val="white">
                    <a:lumMod val="85000"/>
                  </a:prstClr>
                </a:solidFill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949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422" tIns="45711" rIns="91422" bIns="45711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6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 lIns="91422" tIns="45711" rIns="91422" bIns="45711"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193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 lIns="91422" tIns="45711" rIns="91422" bIns="45711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defTabSz="914193"/>
            <a:fld id="{B6F15528-21DE-4FAA-801E-634DDDAF4B2B}" type="slidenum">
              <a:rPr lang="en-US" smtClean="0">
                <a:solidFill>
                  <a:prstClr val="white"/>
                </a:solidFill>
              </a:rPr>
              <a:pPr defTabSz="914193"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73" y="4855425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487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4" r:id="rId1"/>
    <p:sldLayoutId id="2147484995" r:id="rId2"/>
    <p:sldLayoutId id="2147484996" r:id="rId3"/>
    <p:sldLayoutId id="2147484997" r:id="rId4"/>
    <p:sldLayoutId id="2147484998" r:id="rId5"/>
    <p:sldLayoutId id="2147484999" r:id="rId6"/>
    <p:sldLayoutId id="2147485000" r:id="rId7"/>
    <p:sldLayoutId id="2147485001" r:id="rId8"/>
    <p:sldLayoutId id="2147485002" r:id="rId9"/>
    <p:sldLayoutId id="2147485003" r:id="rId10"/>
    <p:sldLayoutId id="2147485004" r:id="rId11"/>
    <p:sldLayoutId id="2147485005" r:id="rId12"/>
    <p:sldLayoutId id="2147485006" r:id="rId13"/>
    <p:sldLayoutId id="2147485008" r:id="rId14"/>
    <p:sldLayoutId id="2147485010" r:id="rId15"/>
  </p:sldLayoutIdLst>
  <p:txStyles>
    <p:titleStyle>
      <a:lvl1pPr algn="l" defTabSz="914193" rtl="0" eaLnBrk="1" latinLnBrk="0" hangingPunct="1">
        <a:spcBef>
          <a:spcPct val="0"/>
        </a:spcBef>
        <a:buNone/>
        <a:defRPr sz="24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819" indent="-342819" algn="l" defTabSz="914193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687" indent="-285687" algn="l" defTabSz="914193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804" indent="-228546" algn="l" defTabSz="914193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9445" indent="-228546" algn="l" defTabSz="809445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6082" indent="-228546" algn="l" defTabSz="914193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033" indent="-228546" algn="l" defTabSz="9141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34" indent="-228546" algn="l" defTabSz="9141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26" indent="-228546" algn="l" defTabSz="9141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27" indent="-228546" algn="l" defTabSz="9141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1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3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4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6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87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9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80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80" algn="l" defTabSz="9141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0" tIns="45705" rIns="91410" bIns="45705" numCol="1" rtlCol="0" anchor="t" anchorCtr="0" compatLnSpc="1">
            <a:prstTxWarp prst="textNoShape">
              <a:avLst/>
            </a:prstTxWarp>
          </a:bodyPr>
          <a:lstStyle/>
          <a:p>
            <a:pPr defTabSz="914076" fontAlgn="base">
              <a:spcBef>
                <a:spcPct val="0"/>
              </a:spcBef>
              <a:spcAft>
                <a:spcPct val="0"/>
              </a:spcAft>
            </a:pPr>
            <a:endParaRPr lang="en-IN" b="1" dirty="0">
              <a:solidFill>
                <a:srgbClr val="0065A4"/>
              </a:solidFill>
              <a:latin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24" y="4868307"/>
            <a:ext cx="1385255" cy="246191"/>
          </a:xfrm>
          <a:prstGeom prst="rect">
            <a:avLst/>
          </a:prstGeom>
          <a:noFill/>
        </p:spPr>
        <p:txBody>
          <a:bodyPr wrap="none" lIns="91410" tIns="45705" rIns="91410" bIns="45705" rtlCol="0">
            <a:spAutoFit/>
          </a:bodyPr>
          <a:lstStyle/>
          <a:p>
            <a:pPr defTabSz="914076"/>
            <a:r>
              <a:rPr lang="en-IN" sz="1000" b="1" dirty="0">
                <a:solidFill>
                  <a:prstClr val="white">
                    <a:lumMod val="85000"/>
                  </a:prstClr>
                </a:solidFill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950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410" tIns="45705" rIns="91410" bIns="45705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6"/>
            <a:ext cx="8229600" cy="3394472"/>
          </a:xfrm>
          <a:prstGeom prst="rect">
            <a:avLst/>
          </a:prstGeom>
        </p:spPr>
        <p:txBody>
          <a:bodyPr vert="horz" lIns="91410" tIns="45705" rIns="91410" bIns="45705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8"/>
            <a:ext cx="360040" cy="193725"/>
          </a:xfrm>
          <a:prstGeom prst="rect">
            <a:avLst/>
          </a:prstGeom>
        </p:spPr>
        <p:txBody>
          <a:bodyPr lIns="91410" tIns="45705" rIns="91410" bIns="45705"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076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6"/>
            <a:ext cx="360040" cy="193725"/>
          </a:xfrm>
          <a:prstGeom prst="rect">
            <a:avLst/>
          </a:prstGeom>
        </p:spPr>
        <p:txBody>
          <a:bodyPr lIns="91410" tIns="45705" rIns="91410" bIns="45705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defTabSz="914076"/>
            <a:fld id="{B6F15528-21DE-4FAA-801E-634DDDAF4B2B}" type="slidenum">
              <a:rPr lang="en-US" smtClean="0">
                <a:solidFill>
                  <a:prstClr val="white"/>
                </a:solidFill>
              </a:rPr>
              <a:pPr defTabSz="914076"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73" y="4855427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865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2" r:id="rId1"/>
    <p:sldLayoutId id="2147485013" r:id="rId2"/>
    <p:sldLayoutId id="2147485014" r:id="rId3"/>
    <p:sldLayoutId id="2147485015" r:id="rId4"/>
    <p:sldLayoutId id="2147485016" r:id="rId5"/>
    <p:sldLayoutId id="2147485017" r:id="rId6"/>
    <p:sldLayoutId id="2147485018" r:id="rId7"/>
    <p:sldLayoutId id="2147485019" r:id="rId8"/>
    <p:sldLayoutId id="2147485020" r:id="rId9"/>
    <p:sldLayoutId id="2147485021" r:id="rId10"/>
    <p:sldLayoutId id="2147485022" r:id="rId11"/>
    <p:sldLayoutId id="2147485023" r:id="rId12"/>
    <p:sldLayoutId id="2147485024" r:id="rId13"/>
    <p:sldLayoutId id="2147485026" r:id="rId14"/>
  </p:sldLayoutIdLst>
  <p:txStyles>
    <p:titleStyle>
      <a:lvl1pPr algn="l" defTabSz="914076" rtl="0" eaLnBrk="1" latinLnBrk="0" hangingPunct="1">
        <a:spcBef>
          <a:spcPct val="0"/>
        </a:spcBef>
        <a:buNone/>
        <a:defRPr sz="24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775" indent="-342775" algn="l" defTabSz="914076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650" indent="-285650" algn="l" defTabSz="914076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734" indent="-228517" algn="l" defTabSz="914076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9342" indent="-228517" algn="l" defTabSz="809342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5944" indent="-228517" algn="l" defTabSz="914076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3711" indent="-228517" algn="l" defTabSz="91407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54" indent="-228517" algn="l" defTabSz="91407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87" indent="-228517" algn="l" defTabSz="91407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30" indent="-228517" algn="l" defTabSz="91407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43" algn="l" defTabSz="9140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76" algn="l" defTabSz="9140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18" algn="l" defTabSz="9140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52" algn="l" defTabSz="9140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94" algn="l" defTabSz="9140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28" algn="l" defTabSz="9140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70" algn="l" defTabSz="9140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12" algn="l" defTabSz="9140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540" y="210794"/>
            <a:ext cx="8280920" cy="61317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540" y="843559"/>
            <a:ext cx="8280920" cy="347067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308311" y="4804821"/>
            <a:ext cx="12282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 fontAlgn="auto">
              <a:spcBef>
                <a:spcPts val="0"/>
              </a:spcBef>
              <a:spcAft>
                <a:spcPts val="0"/>
              </a:spcAft>
            </a:pPr>
            <a:r>
              <a:rPr lang="en-IN" sz="1000" b="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52" name="Straight Connector 51"/>
          <p:cNvCxnSpPr/>
          <p:nvPr/>
        </p:nvCxnSpPr>
        <p:spPr bwMode="auto">
          <a:xfrm>
            <a:off x="8604448" y="4889857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53" name="Picture 52"/>
          <p:cNvPicPr>
            <a:picLocks noChangeAspect="1"/>
          </p:cNvPicPr>
          <p:nvPr/>
        </p:nvPicPr>
        <p:blipFill>
          <a:blip r:embed="rId4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36" y="4836764"/>
            <a:ext cx="2044111" cy="210210"/>
          </a:xfrm>
          <a:prstGeom prst="rect">
            <a:avLst/>
          </a:prstGeom>
        </p:spPr>
      </p:pic>
      <p:sp>
        <p:nvSpPr>
          <p:cNvPr id="54" name="Slide Number Placeholder 3"/>
          <p:cNvSpPr txBox="1">
            <a:spLocks/>
          </p:cNvSpPr>
          <p:nvPr/>
        </p:nvSpPr>
        <p:spPr>
          <a:xfrm>
            <a:off x="8624074" y="4826210"/>
            <a:ext cx="360040" cy="19378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378"/>
            <a:fld id="{24575E5D-BFCE-4DD2-BF0B-AE07218CB3C2}" type="slidenum">
              <a:rPr lang="en-US" smtClean="0">
                <a:solidFill>
                  <a:prstClr val="white"/>
                </a:solidFill>
                <a:latin typeface="Calibri"/>
              </a:rPr>
              <a:pPr defTabSz="914378"/>
              <a:t>‹#›</a:t>
            </a:fld>
            <a:endParaRPr lang="en-IN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54336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1" r:id="rId1"/>
    <p:sldLayoutId id="2147485072" r:id="rId2"/>
    <p:sldLayoutId id="2147485073" r:id="rId3"/>
    <p:sldLayoutId id="2147485074" r:id="rId4"/>
    <p:sldLayoutId id="2147485075" r:id="rId5"/>
    <p:sldLayoutId id="2147485076" r:id="rId6"/>
    <p:sldLayoutId id="2147485077" r:id="rId7"/>
    <p:sldLayoutId id="2147485078" r:id="rId8"/>
    <p:sldLayoutId id="2147485079" r:id="rId9"/>
    <p:sldLayoutId id="2147485080" r:id="rId10"/>
    <p:sldLayoutId id="2147485081" r:id="rId11"/>
    <p:sldLayoutId id="2147485082" r:id="rId12"/>
    <p:sldLayoutId id="2147485083" r:id="rId13"/>
    <p:sldLayoutId id="2147485084" r:id="rId14"/>
    <p:sldLayoutId id="2147485085" r:id="rId15"/>
    <p:sldLayoutId id="2147485086" r:id="rId16"/>
    <p:sldLayoutId id="2147485087" r:id="rId17"/>
    <p:sldLayoutId id="2147485088" r:id="rId18"/>
    <p:sldLayoutId id="2147485089" r:id="rId19"/>
    <p:sldLayoutId id="2147485090" r:id="rId20"/>
    <p:sldLayoutId id="2147485091" r:id="rId21"/>
    <p:sldLayoutId id="2147485092" r:id="rId22"/>
    <p:sldLayoutId id="2147485093" r:id="rId23"/>
    <p:sldLayoutId id="2147485094" r:id="rId24"/>
    <p:sldLayoutId id="2147485095" r:id="rId25"/>
    <p:sldLayoutId id="2147485096" r:id="rId26"/>
    <p:sldLayoutId id="2147485097" r:id="rId27"/>
    <p:sldLayoutId id="2147485098" r:id="rId28"/>
    <p:sldLayoutId id="2147485099" r:id="rId29"/>
    <p:sldLayoutId id="2147485100" r:id="rId30"/>
    <p:sldLayoutId id="2147485101" r:id="rId31"/>
    <p:sldLayoutId id="2147485102" r:id="rId32"/>
    <p:sldLayoutId id="2147485103" r:id="rId33"/>
    <p:sldLayoutId id="2147485104" r:id="rId34"/>
    <p:sldLayoutId id="2147485105" r:id="rId35"/>
    <p:sldLayoutId id="2147485106" r:id="rId36"/>
    <p:sldLayoutId id="2147485107" r:id="rId37"/>
    <p:sldLayoutId id="2147485108" r:id="rId38"/>
    <p:sldLayoutId id="2147485109" r:id="rId39"/>
    <p:sldLayoutId id="2147485110" r:id="rId40"/>
    <p:sldLayoutId id="2147485111" r:id="rId41"/>
    <p:sldLayoutId id="2147485112" r:id="rId42"/>
  </p:sldLayoutIdLst>
  <p:txStyles>
    <p:titleStyle>
      <a:lvl1pPr algn="l" defTabSz="914378" rtl="0" eaLnBrk="1" latinLnBrk="0" hangingPunct="1">
        <a:lnSpc>
          <a:spcPct val="86000"/>
        </a:lnSpc>
        <a:spcBef>
          <a:spcPct val="0"/>
        </a:spcBef>
        <a:buNone/>
        <a:defRPr sz="2100" kern="800" spc="-4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200" kern="800" spc="-1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1pPr>
      <a:lvl2pPr marL="344480" indent="-17303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200" kern="8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2pPr>
      <a:lvl3pPr marL="515925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200" kern="8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3pPr>
      <a:lvl4pPr marL="687371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200" kern="8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4pPr>
      <a:lvl5pPr marL="858817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200" kern="8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541" y="210130"/>
            <a:ext cx="8280920" cy="47141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541" y="843559"/>
            <a:ext cx="8280920" cy="347067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0" y="4765549"/>
            <a:ext cx="9144000" cy="377954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N" b="1" dirty="0">
              <a:solidFill>
                <a:srgbClr val="0065A4"/>
              </a:solidFill>
              <a:latin typeface="Arial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380336" y="4866857"/>
            <a:ext cx="1090363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784"/>
            <a:r>
              <a:rPr lang="en-IN" sz="750" b="1" dirty="0">
                <a:solidFill>
                  <a:prstClr val="white">
                    <a:lumMod val="85000"/>
                  </a:prstClr>
                </a:solidFill>
                <a:cs typeface="Calibri" pitchFamily="34" charset="0"/>
              </a:rPr>
              <a:t>www.infocepts.com</a:t>
            </a:r>
          </a:p>
        </p:txBody>
      </p:sp>
      <p:cxnSp>
        <p:nvCxnSpPr>
          <p:cNvPr id="12" name="Straight Connector 11"/>
          <p:cNvCxnSpPr/>
          <p:nvPr/>
        </p:nvCxnSpPr>
        <p:spPr bwMode="auto">
          <a:xfrm>
            <a:off x="8638991" y="4923429"/>
            <a:ext cx="0" cy="9231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Slide Number Placeholder 3"/>
          <p:cNvSpPr txBox="1">
            <a:spLocks/>
          </p:cNvSpPr>
          <p:nvPr/>
        </p:nvSpPr>
        <p:spPr>
          <a:xfrm>
            <a:off x="8624075" y="4886570"/>
            <a:ext cx="360040" cy="14530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85784"/>
            <a:fld id="{24575E5D-BFCE-4DD2-BF0B-AE07218CB3C2}" type="slidenum">
              <a:rPr lang="en-US" sz="600" smtClean="0">
                <a:solidFill>
                  <a:prstClr val="white"/>
                </a:solidFill>
              </a:rPr>
              <a:pPr defTabSz="685784"/>
              <a:t>‹#›</a:t>
            </a:fld>
            <a:endParaRPr lang="en-IN" sz="600" dirty="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4272" y="4818242"/>
            <a:ext cx="2553542" cy="264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05438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4" r:id="rId1"/>
    <p:sldLayoutId id="2147485115" r:id="rId2"/>
    <p:sldLayoutId id="2147485116" r:id="rId3"/>
    <p:sldLayoutId id="2147485117" r:id="rId4"/>
    <p:sldLayoutId id="2147485118" r:id="rId5"/>
    <p:sldLayoutId id="2147485119" r:id="rId6"/>
    <p:sldLayoutId id="2147485120" r:id="rId7"/>
    <p:sldLayoutId id="2147485121" r:id="rId8"/>
    <p:sldLayoutId id="2147485122" r:id="rId9"/>
    <p:sldLayoutId id="2147485123" r:id="rId10"/>
    <p:sldLayoutId id="2147485124" r:id="rId11"/>
    <p:sldLayoutId id="2147485125" r:id="rId12"/>
    <p:sldLayoutId id="2147485126" r:id="rId13"/>
    <p:sldLayoutId id="2147485127" r:id="rId14"/>
    <p:sldLayoutId id="2147485128" r:id="rId15"/>
    <p:sldLayoutId id="2147485129" r:id="rId16"/>
    <p:sldLayoutId id="2147485130" r:id="rId17"/>
    <p:sldLayoutId id="2147485131" r:id="rId18"/>
    <p:sldLayoutId id="2147485132" r:id="rId19"/>
    <p:sldLayoutId id="2147485133" r:id="rId20"/>
    <p:sldLayoutId id="2147485134" r:id="rId21"/>
    <p:sldLayoutId id="2147485135" r:id="rId22"/>
    <p:sldLayoutId id="2147485136" r:id="rId23"/>
    <p:sldLayoutId id="2147485137" r:id="rId24"/>
    <p:sldLayoutId id="2147485138" r:id="rId25"/>
    <p:sldLayoutId id="2147485139" r:id="rId26"/>
    <p:sldLayoutId id="2147485140" r:id="rId27"/>
    <p:sldLayoutId id="2147485141" r:id="rId28"/>
    <p:sldLayoutId id="2147485142" r:id="rId29"/>
    <p:sldLayoutId id="2147485143" r:id="rId30"/>
    <p:sldLayoutId id="2147485144" r:id="rId31"/>
    <p:sldLayoutId id="2147485145" r:id="rId32"/>
    <p:sldLayoutId id="2147485146" r:id="rId33"/>
    <p:sldLayoutId id="2147485147" r:id="rId34"/>
    <p:sldLayoutId id="2147485148" r:id="rId35"/>
    <p:sldLayoutId id="2147485149" r:id="rId36"/>
    <p:sldLayoutId id="2147485150" r:id="rId37"/>
    <p:sldLayoutId id="2147485151" r:id="rId38"/>
    <p:sldLayoutId id="2147485152" r:id="rId39"/>
    <p:sldLayoutId id="2147485153" r:id="rId40"/>
    <p:sldLayoutId id="2147485154" r:id="rId41"/>
    <p:sldLayoutId id="2147485155" r:id="rId42"/>
    <p:sldLayoutId id="2147485156" r:id="rId43"/>
    <p:sldLayoutId id="2147485157" r:id="rId44"/>
    <p:sldLayoutId id="2147485158" r:id="rId45"/>
    <p:sldLayoutId id="2147485159" r:id="rId46"/>
    <p:sldLayoutId id="2147485160" r:id="rId47"/>
  </p:sldLayoutIdLst>
  <p:txStyles>
    <p:titleStyle>
      <a:lvl1pPr algn="l" defTabSz="685784" rtl="0" eaLnBrk="1" latinLnBrk="0" hangingPunct="1">
        <a:lnSpc>
          <a:spcPct val="86000"/>
        </a:lnSpc>
        <a:spcBef>
          <a:spcPct val="0"/>
        </a:spcBef>
        <a:buNone/>
        <a:defRPr sz="1800" kern="800" spc="-30">
          <a:solidFill>
            <a:srgbClr val="0065A4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34541" indent="-134541" algn="l" defTabSz="685784" rtl="0" eaLnBrk="1" latinLnBrk="0" hangingPunct="1">
        <a:spcBef>
          <a:spcPct val="20000"/>
        </a:spcBef>
        <a:buClrTx/>
        <a:buFont typeface="+mj-lt"/>
        <a:buAutoNum type="arabicPeriod"/>
        <a:defRPr sz="1050" kern="800" spc="-8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258360" indent="-129776" algn="l" defTabSz="685784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sz="1050" kern="8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386944" indent="-128585" algn="l" defTabSz="68578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050" kern="8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515528" indent="-128585" algn="l" defTabSz="68578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050" kern="8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644113" indent="-128585" algn="l" defTabSz="68578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050" kern="8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885903" indent="-171446" algn="l" defTabSz="685784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4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4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4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4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4"/>
          <p:cNvSpPr>
            <a:spLocks noChangeArrowheads="1"/>
          </p:cNvSpPr>
          <p:nvPr/>
        </p:nvSpPr>
        <p:spPr bwMode="auto">
          <a:xfrm>
            <a:off x="0" y="4765721"/>
            <a:ext cx="9144000" cy="377825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65A4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800" y="209596"/>
            <a:ext cx="8280400" cy="6143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800" y="842964"/>
            <a:ext cx="8280400" cy="34718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endParaRPr lang="en-US" dirty="0"/>
          </a:p>
        </p:txBody>
      </p:sp>
      <p:sp>
        <p:nvSpPr>
          <p:cNvPr id="1029" name="TextBox 50"/>
          <p:cNvSpPr txBox="1">
            <a:spLocks noChangeArrowheads="1"/>
          </p:cNvSpPr>
          <p:nvPr/>
        </p:nvSpPr>
        <p:spPr bwMode="auto">
          <a:xfrm>
            <a:off x="7308875" y="4803821"/>
            <a:ext cx="122822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>
                <a:solidFill>
                  <a:srgbClr val="D9D9D9"/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52" name="Straight Connector 51"/>
          <p:cNvCxnSpPr/>
          <p:nvPr/>
        </p:nvCxnSpPr>
        <p:spPr bwMode="auto">
          <a:xfrm>
            <a:off x="8604250" y="4889546"/>
            <a:ext cx="0" cy="920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31" name="Picture 52"/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2400" y="4765676"/>
            <a:ext cx="2553542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Slide Number Placeholder 3"/>
          <p:cNvSpPr txBox="1">
            <a:spLocks/>
          </p:cNvSpPr>
          <p:nvPr/>
        </p:nvSpPr>
        <p:spPr>
          <a:xfrm>
            <a:off x="8623392" y="4834838"/>
            <a:ext cx="360363" cy="19367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07400EA1-762A-4FF6-8A70-4141B3AE7845}" type="slidenum">
              <a:rPr lang="en-US" smtClean="0">
                <a:solidFill>
                  <a:prstClr val="white"/>
                </a:solidFill>
                <a:latin typeface="Calibri"/>
              </a:rPr>
              <a:pPr>
                <a:defRPr/>
              </a:pPr>
              <a:t>‹#›</a:t>
            </a:fld>
            <a:endParaRPr lang="en-IN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68315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2" r:id="rId1"/>
    <p:sldLayoutId id="2147485163" r:id="rId2"/>
    <p:sldLayoutId id="2147485164" r:id="rId3"/>
    <p:sldLayoutId id="2147485165" r:id="rId4"/>
    <p:sldLayoutId id="2147485166" r:id="rId5"/>
    <p:sldLayoutId id="2147485167" r:id="rId6"/>
    <p:sldLayoutId id="2147485168" r:id="rId7"/>
    <p:sldLayoutId id="2147485169" r:id="rId8"/>
    <p:sldLayoutId id="2147485170" r:id="rId9"/>
    <p:sldLayoutId id="2147485171" r:id="rId10"/>
    <p:sldLayoutId id="2147485172" r:id="rId11"/>
    <p:sldLayoutId id="2147485173" r:id="rId12"/>
    <p:sldLayoutId id="2147485174" r:id="rId13"/>
    <p:sldLayoutId id="2147485175" r:id="rId14"/>
    <p:sldLayoutId id="2147485176" r:id="rId15"/>
    <p:sldLayoutId id="2147485177" r:id="rId16"/>
    <p:sldLayoutId id="2147485178" r:id="rId17"/>
    <p:sldLayoutId id="2147485179" r:id="rId18"/>
    <p:sldLayoutId id="2147485180" r:id="rId19"/>
    <p:sldLayoutId id="2147485181" r:id="rId20"/>
    <p:sldLayoutId id="2147485182" r:id="rId21"/>
    <p:sldLayoutId id="2147485183" r:id="rId22"/>
    <p:sldLayoutId id="2147485184" r:id="rId23"/>
    <p:sldLayoutId id="2147485185" r:id="rId24"/>
    <p:sldLayoutId id="2147485186" r:id="rId25"/>
    <p:sldLayoutId id="2147485187" r:id="rId26"/>
    <p:sldLayoutId id="2147485188" r:id="rId27"/>
    <p:sldLayoutId id="2147485189" r:id="rId28"/>
    <p:sldLayoutId id="2147485190" r:id="rId29"/>
    <p:sldLayoutId id="2147485191" r:id="rId30"/>
    <p:sldLayoutId id="2147485192" r:id="rId31"/>
    <p:sldLayoutId id="2147485193" r:id="rId32"/>
    <p:sldLayoutId id="2147485194" r:id="rId33"/>
    <p:sldLayoutId id="2147485195" r:id="rId34"/>
    <p:sldLayoutId id="2147485196" r:id="rId35"/>
    <p:sldLayoutId id="2147485197" r:id="rId36"/>
    <p:sldLayoutId id="2147485198" r:id="rId37"/>
    <p:sldLayoutId id="2147485199" r:id="rId38"/>
    <p:sldLayoutId id="2147485200" r:id="rId39"/>
    <p:sldLayoutId id="2147485201" r:id="rId40"/>
    <p:sldLayoutId id="2147485202" r:id="rId41"/>
    <p:sldLayoutId id="2147485203" r:id="rId42"/>
  </p:sldLayoutIdLst>
  <p:txStyles>
    <p:titleStyle>
      <a:lvl1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 kern="800" spc="-40">
          <a:solidFill>
            <a:srgbClr val="0065A4"/>
          </a:solidFill>
          <a:latin typeface="+mj-lt"/>
          <a:ea typeface="+mj-ea"/>
          <a:cs typeface="+mj-cs"/>
        </a:defRPr>
      </a:lvl1pPr>
      <a:lvl2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2pPr>
      <a:lvl3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3pPr>
      <a:lvl4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4pPr>
      <a:lvl5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5pPr>
      <a:lvl6pPr marL="4572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6pPr>
      <a:lvl7pPr marL="9144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7pPr>
      <a:lvl8pPr marL="13716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8pPr>
      <a:lvl9pPr marL="18288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9pPr>
    </p:titleStyle>
    <p:bodyStyle>
      <a:lvl1pPr marL="228600" indent="-228600" algn="l" defTabSz="912813" rtl="0" eaLnBrk="1" fontAlgn="base" hangingPunct="1">
        <a:spcBef>
          <a:spcPct val="20000"/>
        </a:spcBef>
        <a:spcAft>
          <a:spcPct val="0"/>
        </a:spcAft>
        <a:buFont typeface="Calibri" pitchFamily="34" charset="0"/>
        <a:buAutoNum type="arabicPeriod"/>
        <a:defRPr sz="1200" kern="800" spc="-10">
          <a:solidFill>
            <a:srgbClr val="414043"/>
          </a:solidFill>
          <a:latin typeface="+mn-lt"/>
          <a:ea typeface="+mn-ea"/>
          <a:cs typeface="+mn-cs"/>
        </a:defRPr>
      </a:lvl1pPr>
      <a:lvl2pPr marL="342900" indent="-171450" algn="l" defTabSz="912813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200" kern="800">
          <a:solidFill>
            <a:srgbClr val="414043"/>
          </a:solidFill>
          <a:latin typeface="+mn-lt"/>
          <a:ea typeface="+mn-ea"/>
          <a:cs typeface="+mn-cs"/>
        </a:defRPr>
      </a:lvl2pPr>
      <a:lvl3pPr marL="51435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200" kern="800">
          <a:solidFill>
            <a:srgbClr val="414043"/>
          </a:solidFill>
          <a:latin typeface="+mn-lt"/>
          <a:ea typeface="+mn-ea"/>
          <a:cs typeface="+mn-cs"/>
        </a:defRPr>
      </a:lvl3pPr>
      <a:lvl4pPr marL="68580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 kern="800">
          <a:solidFill>
            <a:srgbClr val="414043"/>
          </a:solidFill>
          <a:latin typeface="+mn-lt"/>
          <a:ea typeface="+mn-ea"/>
          <a:cs typeface="+mn-cs"/>
        </a:defRPr>
      </a:lvl4pPr>
      <a:lvl5pPr marL="85725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»"/>
        <a:defRPr sz="1200" kern="800">
          <a:solidFill>
            <a:srgbClr val="414043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20" tIns="45658" rIns="91320" bIns="45658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5" y="4867919"/>
            <a:ext cx="1258436" cy="246096"/>
          </a:xfrm>
          <a:prstGeom prst="rect">
            <a:avLst/>
          </a:prstGeom>
          <a:noFill/>
        </p:spPr>
        <p:txBody>
          <a:bodyPr wrap="none" lIns="91320" tIns="45658" rIns="91320" bIns="45658" rtlCol="0">
            <a:spAutoFit/>
          </a:bodyPr>
          <a:lstStyle/>
          <a:p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6220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320" tIns="45658" rIns="91320" bIns="45658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65"/>
            <a:ext cx="8229600" cy="3394472"/>
          </a:xfrm>
          <a:prstGeom prst="rect">
            <a:avLst/>
          </a:prstGeom>
        </p:spPr>
        <p:txBody>
          <a:bodyPr vert="horz" lIns="91320" tIns="45658" rIns="91320" bIns="4565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 lIns="91320" tIns="45658" rIns="91320" bIns="45658"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 lIns="91320" tIns="45658" rIns="91320" bIns="45658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50" y="4856805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479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05" r:id="rId1"/>
    <p:sldLayoutId id="2147485206" r:id="rId2"/>
    <p:sldLayoutId id="2147485207" r:id="rId3"/>
    <p:sldLayoutId id="2147485208" r:id="rId4"/>
    <p:sldLayoutId id="2147485209" r:id="rId5"/>
    <p:sldLayoutId id="2147485210" r:id="rId6"/>
    <p:sldLayoutId id="2147485211" r:id="rId7"/>
    <p:sldLayoutId id="2147485212" r:id="rId8"/>
    <p:sldLayoutId id="2147485213" r:id="rId9"/>
  </p:sldLayoutIdLst>
  <p:hf hdr="0" dt="0"/>
  <p:txStyles>
    <p:titleStyle>
      <a:lvl1pPr algn="l" defTabSz="913200" rtl="0" eaLnBrk="1" latinLnBrk="0" hangingPunct="1">
        <a:spcBef>
          <a:spcPct val="0"/>
        </a:spcBef>
        <a:buNone/>
        <a:defRPr sz="28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447" indent="-342447" algn="l" defTabSz="9132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377" indent="-285377" algn="l" defTabSz="9132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210" indent="-228300" algn="l" defTabSz="9132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8560" indent="-228300" algn="l" defTabSz="80856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4913" indent="-228300" algn="l" defTabSz="9132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1300" indent="-228300" algn="l" defTabSz="9132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7901" indent="-228300" algn="l" defTabSz="9132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4497" indent="-228300" algn="l" defTabSz="9132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099" indent="-228300" algn="l" defTabSz="9132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01" algn="l" defTabSz="913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00" algn="l" defTabSz="913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798" algn="l" defTabSz="913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397" algn="l" defTabSz="913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998" algn="l" defTabSz="913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02" algn="l" defTabSz="913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199" algn="l" defTabSz="913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799" algn="l" defTabSz="913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22" tIns="45660" rIns="91322" bIns="4566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5" y="4867919"/>
            <a:ext cx="1258440" cy="246100"/>
          </a:xfrm>
          <a:prstGeom prst="rect">
            <a:avLst/>
          </a:prstGeom>
          <a:noFill/>
        </p:spPr>
        <p:txBody>
          <a:bodyPr wrap="none" lIns="91322" tIns="45660" rIns="91322" bIns="4566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58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322" tIns="45660" rIns="91322" bIns="4566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65"/>
            <a:ext cx="8229600" cy="3394472"/>
          </a:xfrm>
          <a:prstGeom prst="rect">
            <a:avLst/>
          </a:prstGeom>
        </p:spPr>
        <p:txBody>
          <a:bodyPr vert="horz" lIns="91322" tIns="45660" rIns="91322" bIns="4566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 lIns="91322" tIns="45660" rIns="91322" bIns="45660"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 lIns="91322" tIns="45660" rIns="91322" bIns="45660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>
                <a:solidFill>
                  <a:prstClr val="white"/>
                </a:solidFill>
                <a:latin typeface="Calibri"/>
              </a:rPr>
              <a:t>&lt;#&gt;</a:t>
            </a:r>
            <a:endParaRPr lang="en-IN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50" y="4855243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063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</p:sldLayoutIdLst>
  <p:hf hdr="0" ftr="0" dt="0"/>
  <p:txStyles>
    <p:titleStyle>
      <a:lvl1pPr algn="l" defTabSz="913227" rtl="0" eaLnBrk="1" latinLnBrk="0" hangingPunct="1">
        <a:spcBef>
          <a:spcPct val="0"/>
        </a:spcBef>
        <a:buNone/>
        <a:defRPr sz="28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457" indent="-342457" algn="l" defTabSz="913227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386" indent="-285386" algn="l" defTabSz="913227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226" indent="-228306" algn="l" defTabSz="913227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8583" indent="-228306" algn="l" defTabSz="808583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4945" indent="-228306" algn="l" defTabSz="913227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1374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7988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4598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213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15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27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38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51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65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82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92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06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rgbClr val="0065A4"/>
              </a:solidFill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4" y="4868004"/>
            <a:ext cx="990977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75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22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3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sz="60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  <a:cs typeface="+mn-cs"/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73" y="4855039"/>
            <a:ext cx="2578613" cy="19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917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5" r:id="rId1"/>
    <p:sldLayoutId id="2147485216" r:id="rId2"/>
    <p:sldLayoutId id="2147485217" r:id="rId3"/>
    <p:sldLayoutId id="2147485218" r:id="rId4"/>
    <p:sldLayoutId id="2147485219" r:id="rId5"/>
    <p:sldLayoutId id="2147485220" r:id="rId6"/>
    <p:sldLayoutId id="2147485221" r:id="rId7"/>
    <p:sldLayoutId id="2147485222" r:id="rId8"/>
    <p:sldLayoutId id="2147485224" r:id="rId9"/>
  </p:sldLayoutIdLst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214313" indent="-214313" algn="l" defTabSz="6858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3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407194" indent="-171450" algn="l" defTabSz="6858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3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607219" indent="-171450" algn="l" defTabSz="607219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807244" indent="-171450" algn="l" defTabSz="6858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0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4"/>
          <p:cNvSpPr>
            <a:spLocks noChangeArrowheads="1"/>
          </p:cNvSpPr>
          <p:nvPr/>
        </p:nvSpPr>
        <p:spPr bwMode="auto">
          <a:xfrm>
            <a:off x="0" y="4765719"/>
            <a:ext cx="9144000" cy="377825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>
              <a:solidFill>
                <a:srgbClr val="0065A4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800" y="209594"/>
            <a:ext cx="8280400" cy="6143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800" y="842964"/>
            <a:ext cx="8280400" cy="34718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endParaRPr lang="en-US"/>
          </a:p>
        </p:txBody>
      </p:sp>
      <p:sp>
        <p:nvSpPr>
          <p:cNvPr id="1029" name="TextBox 50"/>
          <p:cNvSpPr txBox="1">
            <a:spLocks noChangeArrowheads="1"/>
          </p:cNvSpPr>
          <p:nvPr/>
        </p:nvSpPr>
        <p:spPr bwMode="auto">
          <a:xfrm>
            <a:off x="7308875" y="4803819"/>
            <a:ext cx="122822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en-US" sz="1000" b="0">
                <a:solidFill>
                  <a:srgbClr val="D9D9D9"/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52" name="Straight Connector 51"/>
          <p:cNvCxnSpPr/>
          <p:nvPr/>
        </p:nvCxnSpPr>
        <p:spPr bwMode="auto">
          <a:xfrm>
            <a:off x="8604250" y="4889544"/>
            <a:ext cx="0" cy="920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31" name="Picture 52"/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1477" y="4765719"/>
            <a:ext cx="2718165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Slide Number Placeholder 3"/>
          <p:cNvSpPr txBox="1">
            <a:spLocks/>
          </p:cNvSpPr>
          <p:nvPr/>
        </p:nvSpPr>
        <p:spPr>
          <a:xfrm>
            <a:off x="8623388" y="4834836"/>
            <a:ext cx="360363" cy="19367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07400EA1-762A-4FF6-8A70-4141B3AE7845}" type="slidenum">
              <a:rPr lang="en-US" smtClean="0">
                <a:solidFill>
                  <a:prstClr val="white"/>
                </a:solidFill>
                <a:latin typeface="Calibri"/>
              </a:rPr>
              <a:pPr>
                <a:defRPr/>
              </a:pPr>
              <a:t>‹#›</a:t>
            </a:fld>
            <a:endParaRPr lang="en-IN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3914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6" r:id="rId1"/>
    <p:sldLayoutId id="2147485227" r:id="rId2"/>
    <p:sldLayoutId id="2147485228" r:id="rId3"/>
    <p:sldLayoutId id="2147485229" r:id="rId4"/>
    <p:sldLayoutId id="2147485230" r:id="rId5"/>
    <p:sldLayoutId id="2147485231" r:id="rId6"/>
    <p:sldLayoutId id="2147485232" r:id="rId7"/>
    <p:sldLayoutId id="2147485233" r:id="rId8"/>
    <p:sldLayoutId id="2147485234" r:id="rId9"/>
    <p:sldLayoutId id="2147485235" r:id="rId10"/>
    <p:sldLayoutId id="2147485236" r:id="rId11"/>
    <p:sldLayoutId id="2147485237" r:id="rId12"/>
    <p:sldLayoutId id="2147485238" r:id="rId13"/>
    <p:sldLayoutId id="2147485239" r:id="rId14"/>
    <p:sldLayoutId id="2147485240" r:id="rId15"/>
    <p:sldLayoutId id="2147485241" r:id="rId16"/>
    <p:sldLayoutId id="2147485242" r:id="rId17"/>
    <p:sldLayoutId id="2147485243" r:id="rId18"/>
    <p:sldLayoutId id="2147485244" r:id="rId19"/>
    <p:sldLayoutId id="2147485245" r:id="rId20"/>
    <p:sldLayoutId id="2147485246" r:id="rId21"/>
    <p:sldLayoutId id="2147485247" r:id="rId22"/>
    <p:sldLayoutId id="2147485248" r:id="rId23"/>
    <p:sldLayoutId id="2147485249" r:id="rId24"/>
    <p:sldLayoutId id="2147485250" r:id="rId25"/>
    <p:sldLayoutId id="2147485251" r:id="rId26"/>
    <p:sldLayoutId id="2147485252" r:id="rId27"/>
    <p:sldLayoutId id="2147485253" r:id="rId28"/>
    <p:sldLayoutId id="2147485254" r:id="rId29"/>
    <p:sldLayoutId id="2147485255" r:id="rId30"/>
    <p:sldLayoutId id="2147485256" r:id="rId31"/>
    <p:sldLayoutId id="2147485257" r:id="rId32"/>
    <p:sldLayoutId id="2147485258" r:id="rId33"/>
    <p:sldLayoutId id="2147485259" r:id="rId34"/>
    <p:sldLayoutId id="2147485260" r:id="rId35"/>
    <p:sldLayoutId id="2147485261" r:id="rId36"/>
    <p:sldLayoutId id="2147485262" r:id="rId37"/>
    <p:sldLayoutId id="2147485263" r:id="rId38"/>
    <p:sldLayoutId id="2147485264" r:id="rId39"/>
    <p:sldLayoutId id="2147485265" r:id="rId40"/>
    <p:sldLayoutId id="2147485266" r:id="rId41"/>
    <p:sldLayoutId id="2147485267" r:id="rId42"/>
    <p:sldLayoutId id="2147485268" r:id="rId43"/>
  </p:sldLayoutIdLst>
  <p:txStyles>
    <p:titleStyle>
      <a:lvl1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 kern="800" spc="-40">
          <a:solidFill>
            <a:srgbClr val="0065A4"/>
          </a:solidFill>
          <a:latin typeface="+mj-lt"/>
          <a:ea typeface="+mj-ea"/>
          <a:cs typeface="+mj-cs"/>
        </a:defRPr>
      </a:lvl1pPr>
      <a:lvl2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2pPr>
      <a:lvl3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3pPr>
      <a:lvl4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4pPr>
      <a:lvl5pPr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5pPr>
      <a:lvl6pPr marL="4572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6pPr>
      <a:lvl7pPr marL="9144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7pPr>
      <a:lvl8pPr marL="13716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8pPr>
      <a:lvl9pPr marL="1828800" algn="l" defTabSz="912813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100">
          <a:solidFill>
            <a:srgbClr val="0065A4"/>
          </a:solidFill>
          <a:latin typeface="Calibri" pitchFamily="34" charset="0"/>
        </a:defRPr>
      </a:lvl9pPr>
    </p:titleStyle>
    <p:bodyStyle>
      <a:lvl1pPr marL="228600" indent="-228600" algn="l" defTabSz="912813" rtl="0" eaLnBrk="1" fontAlgn="base" hangingPunct="1">
        <a:spcBef>
          <a:spcPct val="20000"/>
        </a:spcBef>
        <a:spcAft>
          <a:spcPct val="0"/>
        </a:spcAft>
        <a:buFont typeface="Calibri" pitchFamily="34" charset="0"/>
        <a:buAutoNum type="arabicPeriod"/>
        <a:defRPr sz="1200" kern="800" spc="-10">
          <a:solidFill>
            <a:srgbClr val="414043"/>
          </a:solidFill>
          <a:latin typeface="+mn-lt"/>
          <a:ea typeface="+mn-ea"/>
          <a:cs typeface="+mn-cs"/>
        </a:defRPr>
      </a:lvl1pPr>
      <a:lvl2pPr marL="342900" indent="-171450" algn="l" defTabSz="912813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200" kern="800">
          <a:solidFill>
            <a:srgbClr val="414043"/>
          </a:solidFill>
          <a:latin typeface="+mn-lt"/>
          <a:ea typeface="+mn-ea"/>
          <a:cs typeface="+mn-cs"/>
        </a:defRPr>
      </a:lvl2pPr>
      <a:lvl3pPr marL="51435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200" kern="800">
          <a:solidFill>
            <a:srgbClr val="414043"/>
          </a:solidFill>
          <a:latin typeface="+mn-lt"/>
          <a:ea typeface="+mn-ea"/>
          <a:cs typeface="+mn-cs"/>
        </a:defRPr>
      </a:lvl3pPr>
      <a:lvl4pPr marL="68580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 kern="800">
          <a:solidFill>
            <a:srgbClr val="414043"/>
          </a:solidFill>
          <a:latin typeface="+mn-lt"/>
          <a:ea typeface="+mn-ea"/>
          <a:cs typeface="+mn-cs"/>
        </a:defRPr>
      </a:lvl4pPr>
      <a:lvl5pPr marL="857250" indent="-169863" algn="l" defTabSz="91281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»"/>
        <a:defRPr sz="1200" kern="800">
          <a:solidFill>
            <a:srgbClr val="414043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4770420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2" y="4848901"/>
            <a:ext cx="12586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000">
                <a:solidFill>
                  <a:prstClr val="white">
                    <a:lumMod val="85000"/>
                  </a:prst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34324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3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32112" y="4884077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&lt;#&gt;</a:t>
            </a:r>
          </a:p>
        </p:txBody>
      </p:sp>
      <p:pic>
        <p:nvPicPr>
          <p:cNvPr id="14" name="Picture 52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1477" y="4765719"/>
            <a:ext cx="2718165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7974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0" r:id="rId1"/>
    <p:sldLayoutId id="2147485271" r:id="rId2"/>
    <p:sldLayoutId id="2147485272" r:id="rId3"/>
    <p:sldLayoutId id="2147485273" r:id="rId4"/>
    <p:sldLayoutId id="2147485274" r:id="rId5"/>
    <p:sldLayoutId id="2147485275" r:id="rId6"/>
    <p:sldLayoutId id="2147485276" r:id="rId7"/>
    <p:sldLayoutId id="2147485277" r:id="rId8"/>
    <p:sldLayoutId id="2147485278" r:id="rId9"/>
    <p:sldLayoutId id="2147485279" r:id="rId10"/>
    <p:sldLayoutId id="2147485280" r:id="rId11"/>
    <p:sldLayoutId id="2147485281" r:id="rId12"/>
    <p:sldLayoutId id="2147485282" r:id="rId13"/>
    <p:sldLayoutId id="2147485283" r:id="rId14"/>
    <p:sldLayoutId id="2147485284" r:id="rId15"/>
    <p:sldLayoutId id="2147485287" r:id="rId1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9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9625" indent="-228600" algn="l" defTabSz="809625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63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5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Placeholder 1"/>
          <p:cNvSpPr>
            <a:spLocks noGrp="1"/>
          </p:cNvSpPr>
          <p:nvPr>
            <p:ph type="title"/>
          </p:nvPr>
        </p:nvSpPr>
        <p:spPr bwMode="auto">
          <a:xfrm>
            <a:off x="368312" y="1276350"/>
            <a:ext cx="5986463" cy="237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Your headline will go here</a:t>
            </a:r>
          </a:p>
        </p:txBody>
      </p:sp>
      <p:sp>
        <p:nvSpPr>
          <p:cNvPr id="1024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68312" y="3651252"/>
            <a:ext cx="5986463" cy="64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Your subtitle will go here</a:t>
            </a:r>
          </a:p>
        </p:txBody>
      </p:sp>
      <p:pic>
        <p:nvPicPr>
          <p:cNvPr id="10246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342" t="3000" r="5789" b="16322"/>
          <a:stretch>
            <a:fillRect/>
          </a:stretch>
        </p:blipFill>
        <p:spPr bwMode="auto">
          <a:xfrm>
            <a:off x="4859434" y="-55562"/>
            <a:ext cx="8015287" cy="519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F:\InfoCepts_logo\InfoCepts Logo_Blue_PNG.png"/>
          <p:cNvPicPr>
            <a:picLocks noChangeAspect="1" noChangeArrowheads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409310"/>
            <a:ext cx="2304256" cy="217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13476" y="4629198"/>
            <a:ext cx="14666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>
                <a:solidFill>
                  <a:prstClr val="white"/>
                </a:solidFill>
                <a:latin typeface="Calibri"/>
                <a:cs typeface="Arial" charset="0"/>
              </a:rPr>
              <a:t>www.infocepts.com</a:t>
            </a:r>
          </a:p>
        </p:txBody>
      </p:sp>
    </p:spTree>
    <p:extLst>
      <p:ext uri="{BB962C8B-B14F-4D97-AF65-F5344CB8AC3E}">
        <p14:creationId xmlns:p14="http://schemas.microsoft.com/office/powerpoint/2010/main" val="768612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89" r:id="rId1"/>
    <p:sldLayoutId id="2147485290" r:id="rId2"/>
    <p:sldLayoutId id="2147485291" r:id="rId3"/>
    <p:sldLayoutId id="2147485292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+mj-lt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Calibri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Calibri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Calibri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Calibri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Calibri" pitchFamily="34" charset="0"/>
        </a:defRPr>
      </a:lvl9pPr>
    </p:titleStyle>
    <p:bodyStyle>
      <a:lvl1pPr marL="0" indent="0" algn="l" rtl="0" eaLnBrk="0" fontAlgn="base" hangingPunct="0">
        <a:spcBef>
          <a:spcPct val="20000"/>
        </a:spcBef>
        <a:spcAft>
          <a:spcPct val="0"/>
        </a:spcAft>
        <a:buNone/>
        <a:defRPr sz="2000">
          <a:solidFill>
            <a:schemeClr val="bg1"/>
          </a:solidFill>
          <a:latin typeface="+mj-lt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bg1"/>
          </a:solidFill>
          <a:latin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bg1"/>
          </a:solidFill>
          <a:latin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bg1"/>
          </a:solidFill>
          <a:latin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bg1"/>
          </a:solidFill>
          <a:latin typeface="Arial" charset="0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bg1"/>
          </a:solidFill>
          <a:latin typeface="Arial" charset="0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bg1"/>
          </a:solidFill>
          <a:latin typeface="Arial" charset="0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bg1"/>
          </a:solidFill>
          <a:latin typeface="Arial" charset="0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bg1"/>
          </a:solidFill>
          <a:latin typeface="Arial" charset="0"/>
        </a:defRPr>
      </a:lvl9pPr>
    </p:bodyStyle>
    <p:otherStyle/>
  </p:txStyles>
</p:sldMaster>
</file>

<file path=ppt/slideMasters/slideMaster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4770420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2" y="4848901"/>
            <a:ext cx="12586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000">
                <a:solidFill>
                  <a:prstClr val="white">
                    <a:lumMod val="85000"/>
                  </a:prst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34324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3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32112" y="4884077"/>
            <a:ext cx="360040" cy="193725"/>
          </a:xfrm>
          <a:prstGeom prst="rect">
            <a:avLst/>
          </a:prstGeom>
        </p:spPr>
        <p:txBody>
          <a:bodyPr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>
                <a:solidFill>
                  <a:prstClr val="white"/>
                </a:solidFill>
              </a:rPr>
              <a:t>&lt;#&gt;</a:t>
            </a:r>
          </a:p>
        </p:txBody>
      </p:sp>
      <p:pic>
        <p:nvPicPr>
          <p:cNvPr id="14" name="Picture 52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1477" y="4765719"/>
            <a:ext cx="2718165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9703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4" r:id="rId1"/>
    <p:sldLayoutId id="2147485295" r:id="rId2"/>
    <p:sldLayoutId id="2147485296" r:id="rId3"/>
    <p:sldLayoutId id="2147485297" r:id="rId4"/>
    <p:sldLayoutId id="2147485298" r:id="rId5"/>
    <p:sldLayoutId id="2147485299" r:id="rId6"/>
    <p:sldLayoutId id="2147485300" r:id="rId7"/>
    <p:sldLayoutId id="2147485301" r:id="rId8"/>
    <p:sldLayoutId id="2147485302" r:id="rId9"/>
    <p:sldLayoutId id="2147485303" r:id="rId10"/>
    <p:sldLayoutId id="2147485304" r:id="rId11"/>
    <p:sldLayoutId id="2147485305" r:id="rId12"/>
    <p:sldLayoutId id="2147485306" r:id="rId13"/>
    <p:sldLayoutId id="2147485307" r:id="rId14"/>
    <p:sldLayoutId id="2147485308" r:id="rId15"/>
    <p:sldLayoutId id="2147485311" r:id="rId1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9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9625" indent="-228600" algn="l" defTabSz="809625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6325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66"/>
            <a:ext cx="9144000" cy="378039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1" tIns="45705" rIns="91411" bIns="45705" numCol="1" rtlCol="0" anchor="t" anchorCtr="0" compatLnSpc="1">
            <a:prstTxWarp prst="textNoShape">
              <a:avLst/>
            </a:prstTxWarp>
          </a:bodyPr>
          <a:lstStyle/>
          <a:p>
            <a:pPr defTabSz="914217"/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42" y="4867966"/>
            <a:ext cx="1258619" cy="246191"/>
          </a:xfrm>
          <a:prstGeom prst="rect">
            <a:avLst/>
          </a:prstGeom>
          <a:noFill/>
        </p:spPr>
        <p:txBody>
          <a:bodyPr wrap="none" lIns="91411" tIns="45705" rIns="91411" bIns="45705" rtlCol="0">
            <a:spAutoFit/>
          </a:bodyPr>
          <a:lstStyle/>
          <a:p>
            <a:pPr defTabSz="914217" fontAlgn="auto">
              <a:spcBef>
                <a:spcPts val="0"/>
              </a:spcBef>
              <a:spcAft>
                <a:spcPts val="0"/>
              </a:spcAft>
            </a:pPr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567"/>
            <a:ext cx="0" cy="9233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527"/>
            <a:ext cx="8229600" cy="648073"/>
          </a:xfrm>
          <a:prstGeom prst="rect">
            <a:avLst/>
          </a:prstGeom>
        </p:spPr>
        <p:txBody>
          <a:bodyPr vert="horz" lIns="91411" tIns="45705" rIns="91411" bIns="45705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5"/>
            <a:ext cx="8229600" cy="3394474"/>
          </a:xfrm>
          <a:prstGeom prst="rect">
            <a:avLst/>
          </a:prstGeom>
        </p:spPr>
        <p:txBody>
          <a:bodyPr vert="horz" lIns="91411" tIns="45705" rIns="91411" bIns="45705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4" y="3922297"/>
            <a:ext cx="360040" cy="193725"/>
          </a:xfrm>
          <a:prstGeom prst="rect">
            <a:avLst/>
          </a:prstGeom>
        </p:spPr>
        <p:txBody>
          <a:bodyPr lIns="91411" tIns="45705" rIns="91411" bIns="45705"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217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 lIns="91411" tIns="45705" rIns="91411" bIns="45705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defTabSz="914217" fontAlgn="auto">
              <a:spcBef>
                <a:spcPts val="0"/>
              </a:spcBef>
              <a:spcAft>
                <a:spcPts val="0"/>
              </a:spcAft>
            </a:pPr>
            <a:r>
              <a:rPr lang="en-IN" dirty="0">
                <a:solidFill>
                  <a:prstClr val="white"/>
                </a:solidFill>
                <a:latin typeface="Calibri"/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50" y="4855042"/>
            <a:ext cx="2578613" cy="19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307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31" r:id="rId1"/>
    <p:sldLayoutId id="2147485332" r:id="rId2"/>
    <p:sldLayoutId id="2147485333" r:id="rId3"/>
    <p:sldLayoutId id="2147485334" r:id="rId4"/>
    <p:sldLayoutId id="2147485335" r:id="rId5"/>
    <p:sldLayoutId id="2147485336" r:id="rId6"/>
    <p:sldLayoutId id="2147485337" r:id="rId7"/>
    <p:sldLayoutId id="2147485338" r:id="rId8"/>
    <p:sldLayoutId id="2147485339" r:id="rId9"/>
  </p:sldLayoutIdLst>
  <p:hf hdr="0" dt="0"/>
  <p:txStyles>
    <p:titleStyle>
      <a:lvl1pPr algn="l" defTabSz="914217" rtl="0" eaLnBrk="1" latinLnBrk="0" hangingPunct="1">
        <a:spcBef>
          <a:spcPct val="0"/>
        </a:spcBef>
        <a:buNone/>
        <a:defRPr sz="27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831" indent="-342831" algn="l" defTabSz="914217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285693" indent="-285693" algn="l" defTabSz="914217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818" indent="-228555" algn="l" defTabSz="914217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9464" indent="-228555" algn="l" defTabSz="809464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6111" indent="-228555" algn="l" defTabSz="914217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3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101" indent="-228555" algn="l" defTabSz="91421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12" indent="-228555" algn="l" defTabSz="91421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21" indent="-228555" algn="l" defTabSz="91421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30" indent="-228555" algn="l" defTabSz="91421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5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75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66"/>
            <a:ext cx="9144000" cy="378039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1" tIns="45705" rIns="91411" bIns="45705" numCol="1" rtlCol="0" anchor="t" anchorCtr="0" compatLnSpc="1">
            <a:prstTxWarp prst="textNoShape">
              <a:avLst/>
            </a:prstTxWarp>
          </a:bodyPr>
          <a:lstStyle/>
          <a:p>
            <a:pPr defTabSz="914217"/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9" y="4867926"/>
            <a:ext cx="1258619" cy="246191"/>
          </a:xfrm>
          <a:prstGeom prst="rect">
            <a:avLst/>
          </a:prstGeom>
          <a:noFill/>
        </p:spPr>
        <p:txBody>
          <a:bodyPr wrap="none" lIns="91411" tIns="45705" rIns="91411" bIns="45705" rtlCol="0">
            <a:spAutoFit/>
          </a:bodyPr>
          <a:lstStyle/>
          <a:p>
            <a:pPr defTabSz="914217" fontAlgn="auto">
              <a:spcBef>
                <a:spcPts val="0"/>
              </a:spcBef>
              <a:spcAft>
                <a:spcPts val="0"/>
              </a:spcAft>
            </a:pPr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567"/>
            <a:ext cx="0" cy="9233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7"/>
            <a:ext cx="8229600" cy="648073"/>
          </a:xfrm>
          <a:prstGeom prst="rect">
            <a:avLst/>
          </a:prstGeom>
        </p:spPr>
        <p:txBody>
          <a:bodyPr vert="horz" lIns="91411" tIns="45705" rIns="91411" bIns="45705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5"/>
            <a:ext cx="8229600" cy="3394474"/>
          </a:xfrm>
          <a:prstGeom prst="rect">
            <a:avLst/>
          </a:prstGeom>
        </p:spPr>
        <p:txBody>
          <a:bodyPr vert="horz" lIns="91411" tIns="45705" rIns="91411" bIns="45705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4" y="3922297"/>
            <a:ext cx="360040" cy="193725"/>
          </a:xfrm>
          <a:prstGeom prst="rect">
            <a:avLst/>
          </a:prstGeom>
        </p:spPr>
        <p:txBody>
          <a:bodyPr lIns="91411" tIns="45705" rIns="91411" bIns="45705"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217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 lIns="91411" tIns="45705" rIns="91411" bIns="45705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defTabSz="914217" fontAlgn="auto">
              <a:spcBef>
                <a:spcPts val="0"/>
              </a:spcBef>
              <a:spcAft>
                <a:spcPts val="0"/>
              </a:spcAft>
            </a:pPr>
            <a:r>
              <a:rPr lang="en-IN" dirty="0">
                <a:solidFill>
                  <a:prstClr val="white"/>
                </a:solidFill>
                <a:latin typeface="Calibri"/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38" y="4855042"/>
            <a:ext cx="2578613" cy="19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976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42" r:id="rId1"/>
    <p:sldLayoutId id="2147485343" r:id="rId2"/>
    <p:sldLayoutId id="2147485344" r:id="rId3"/>
    <p:sldLayoutId id="2147485345" r:id="rId4"/>
    <p:sldLayoutId id="2147485346" r:id="rId5"/>
    <p:sldLayoutId id="2147485347" r:id="rId6"/>
    <p:sldLayoutId id="2147485348" r:id="rId7"/>
    <p:sldLayoutId id="2147485349" r:id="rId8"/>
    <p:sldLayoutId id="2147485350" r:id="rId9"/>
    <p:sldLayoutId id="2147485351" r:id="rId10"/>
  </p:sldLayoutIdLst>
  <p:hf hdr="0" dt="0"/>
  <p:txStyles>
    <p:titleStyle>
      <a:lvl1pPr algn="l" defTabSz="914217" rtl="0" eaLnBrk="1" latinLnBrk="0" hangingPunct="1">
        <a:spcBef>
          <a:spcPct val="0"/>
        </a:spcBef>
        <a:buNone/>
        <a:defRPr sz="27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831" indent="-342831" algn="l" defTabSz="914217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285693" indent="-285693" algn="l" defTabSz="914217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818" indent="-228555" algn="l" defTabSz="914217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9464" indent="-228555" algn="l" defTabSz="809464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6111" indent="-228555" algn="l" defTabSz="914217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3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101" indent="-228555" algn="l" defTabSz="91421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12" indent="-228555" algn="l" defTabSz="91421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21" indent="-228555" algn="l" defTabSz="91421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30" indent="-228555" algn="l" defTabSz="91421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5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75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65"/>
            <a:ext cx="9144000" cy="378039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1" tIns="45705" rIns="91411" bIns="45705" numCol="1" rtlCol="0" anchor="t" anchorCtr="0" compatLnSpc="1">
            <a:prstTxWarp prst="textNoShape">
              <a:avLst/>
            </a:prstTxWarp>
          </a:bodyPr>
          <a:lstStyle/>
          <a:p>
            <a:pPr defTabSz="914217"/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5" y="4867924"/>
            <a:ext cx="1258619" cy="246191"/>
          </a:xfrm>
          <a:prstGeom prst="rect">
            <a:avLst/>
          </a:prstGeom>
          <a:noFill/>
        </p:spPr>
        <p:txBody>
          <a:bodyPr wrap="none" lIns="91411" tIns="45705" rIns="91411" bIns="45705" rtlCol="0">
            <a:spAutoFit/>
          </a:bodyPr>
          <a:lstStyle/>
          <a:p>
            <a:pPr defTabSz="914217" fontAlgn="auto">
              <a:spcBef>
                <a:spcPts val="0"/>
              </a:spcBef>
              <a:spcAft>
                <a:spcPts val="0"/>
              </a:spcAft>
            </a:pPr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567"/>
            <a:ext cx="0" cy="9233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5"/>
            <a:ext cx="8229600" cy="648073"/>
          </a:xfrm>
          <a:prstGeom prst="rect">
            <a:avLst/>
          </a:prstGeom>
        </p:spPr>
        <p:txBody>
          <a:bodyPr vert="horz" lIns="91411" tIns="45705" rIns="91411" bIns="45705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54"/>
            <a:ext cx="8229600" cy="3394474"/>
          </a:xfrm>
          <a:prstGeom prst="rect">
            <a:avLst/>
          </a:prstGeom>
        </p:spPr>
        <p:txBody>
          <a:bodyPr vert="horz" lIns="91411" tIns="45705" rIns="91411" bIns="45705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4" y="3922297"/>
            <a:ext cx="360040" cy="193725"/>
          </a:xfrm>
          <a:prstGeom prst="rect">
            <a:avLst/>
          </a:prstGeom>
        </p:spPr>
        <p:txBody>
          <a:bodyPr lIns="91411" tIns="45705" rIns="91411" bIns="45705"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217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10"/>
            <a:ext cx="360040" cy="193725"/>
          </a:xfrm>
          <a:prstGeom prst="rect">
            <a:avLst/>
          </a:prstGeom>
        </p:spPr>
        <p:txBody>
          <a:bodyPr lIns="91411" tIns="45705" rIns="91411" bIns="45705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pPr defTabSz="914217" fontAlgn="auto">
              <a:spcBef>
                <a:spcPts val="0"/>
              </a:spcBef>
              <a:spcAft>
                <a:spcPts val="0"/>
              </a:spcAft>
            </a:pPr>
            <a:r>
              <a:rPr lang="en-IN" dirty="0">
                <a:solidFill>
                  <a:prstClr val="white"/>
                </a:solidFill>
                <a:latin typeface="Calibri"/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34" y="4855042"/>
            <a:ext cx="2578613" cy="19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73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3" r:id="rId1"/>
    <p:sldLayoutId id="2147485354" r:id="rId2"/>
    <p:sldLayoutId id="2147485355" r:id="rId3"/>
    <p:sldLayoutId id="2147485356" r:id="rId4"/>
    <p:sldLayoutId id="2147485357" r:id="rId5"/>
    <p:sldLayoutId id="2147485358" r:id="rId6"/>
    <p:sldLayoutId id="2147485359" r:id="rId7"/>
    <p:sldLayoutId id="2147485360" r:id="rId8"/>
    <p:sldLayoutId id="2147485361" r:id="rId9"/>
  </p:sldLayoutIdLst>
  <p:hf hdr="0" dt="0"/>
  <p:txStyles>
    <p:titleStyle>
      <a:lvl1pPr algn="l" defTabSz="914217" rtl="0" eaLnBrk="1" latinLnBrk="0" hangingPunct="1">
        <a:spcBef>
          <a:spcPct val="0"/>
        </a:spcBef>
        <a:buNone/>
        <a:defRPr sz="27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831" indent="-342831" algn="l" defTabSz="914217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285693" indent="-285693" algn="l" defTabSz="914217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818" indent="-228555" algn="l" defTabSz="914217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9464" indent="-228555" algn="l" defTabSz="809464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6111" indent="-228555" algn="l" defTabSz="914217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3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101" indent="-228555" algn="l" defTabSz="91421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12" indent="-228555" algn="l" defTabSz="91421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21" indent="-228555" algn="l" defTabSz="91421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30" indent="-228555" algn="l" defTabSz="91421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5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75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012" y="840510"/>
            <a:ext cx="9155013" cy="3678869"/>
          </a:xfrm>
          <a:prstGeom prst="rect">
            <a:avLst/>
          </a:prstGeom>
        </p:spPr>
      </p:pic>
      <p:sp>
        <p:nvSpPr>
          <p:cNvPr id="28691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2339753" y="2647560"/>
            <a:ext cx="6408712" cy="950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22" tIns="45660" rIns="91322" bIns="4566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IN" dirty="0"/>
              <a:t>Your Sub headline will go here</a:t>
            </a:r>
          </a:p>
        </p:txBody>
      </p:sp>
      <p:sp>
        <p:nvSpPr>
          <p:cNvPr id="28689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39752" y="1513529"/>
            <a:ext cx="6408712" cy="1134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22" tIns="45660" rIns="91322" bIns="4566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IN" dirty="0"/>
              <a:t>Divider slide headlines </a:t>
            </a:r>
          </a:p>
          <a:p>
            <a:pPr lvl="0"/>
            <a:r>
              <a:rPr lang="en-IN" dirty="0"/>
              <a:t>will goes here</a:t>
            </a:r>
          </a:p>
        </p:txBody>
      </p:sp>
      <p:pic>
        <p:nvPicPr>
          <p:cNvPr id="7" name="Picture 2" descr="F:\InfoCepts_logo\InfoCepts Logo_Blue_PNG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333819"/>
            <a:ext cx="2304256" cy="163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67544" y="4640473"/>
            <a:ext cx="2448272" cy="307655"/>
          </a:xfrm>
          <a:prstGeom prst="rect">
            <a:avLst/>
          </a:prstGeom>
          <a:noFill/>
        </p:spPr>
        <p:txBody>
          <a:bodyPr wrap="square" lIns="91322" tIns="45660" rIns="91322" bIns="45660" rtlCol="0" anchor="b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IN" sz="1400" dirty="0">
                <a:solidFill>
                  <a:srgbClr val="000000">
                    <a:lumMod val="50000"/>
                    <a:lumOff val="50000"/>
                  </a:srgb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</p:spTree>
    <p:extLst>
      <p:ext uri="{BB962C8B-B14F-4D97-AF65-F5344CB8AC3E}">
        <p14:creationId xmlns:p14="http://schemas.microsoft.com/office/powerpoint/2010/main" val="3597661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</p:sldLayoutIdLst>
  <p:hf hdr="0" ftr="0" dt="0"/>
  <p:txStyles>
    <p:titleStyle>
      <a:lvl1pPr marL="0" indent="0" algn="r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Wingdings" pitchFamily="2" charset="2"/>
        <a:buNone/>
        <a:defRPr sz="2400" b="0" baseline="0">
          <a:solidFill>
            <a:srgbClr val="CBEC78"/>
          </a:solidFill>
          <a:latin typeface="Calibri" pitchFamily="34" charset="0"/>
          <a:ea typeface="Open Sans" pitchFamily="34" charset="0"/>
          <a:cs typeface="Calibri" pitchFamily="34" charset="0"/>
        </a:defRPr>
      </a:lvl1pPr>
      <a:lvl2pPr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2pPr>
      <a:lvl3pPr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3pPr>
      <a:lvl4pPr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4pPr>
      <a:lvl5pPr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5pPr>
      <a:lvl6pPr marL="456615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6pPr>
      <a:lvl7pPr marL="913227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7pPr>
      <a:lvl8pPr marL="1369838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8pPr>
      <a:lvl9pPr marL="1826451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rgbClr val="CCECFF"/>
          </a:solidFill>
          <a:latin typeface="Arial" charset="0"/>
        </a:defRPr>
      </a:lvl9pPr>
    </p:titleStyle>
    <p:bodyStyle>
      <a:lvl1pPr marL="342457" marR="0" indent="-342457" algn="r" defTabSz="913227" rtl="0" eaLnBrk="1" fontAlgn="base" latinLnBrk="0" hangingPunct="1">
        <a:lnSpc>
          <a:spcPct val="100000"/>
        </a:lnSpc>
        <a:spcBef>
          <a:spcPts val="0"/>
        </a:spcBef>
        <a:spcAft>
          <a:spcPct val="0"/>
        </a:spcAft>
        <a:buClrTx/>
        <a:buSzTx/>
        <a:buFontTx/>
        <a:buNone/>
        <a:tabLst/>
        <a:defRPr lang="en-IN" sz="4500" b="0" baseline="0" dirty="0" smtClean="0">
          <a:solidFill>
            <a:schemeClr val="bg1"/>
          </a:solidFill>
          <a:latin typeface="Calibri Light" pitchFamily="34" charset="0"/>
          <a:ea typeface="Open Sans" pitchFamily="34" charset="0"/>
          <a:cs typeface="Calibri" pitchFamily="34" charset="0"/>
        </a:defRPr>
      </a:lvl1pPr>
      <a:lvl2pPr marL="741995" indent="-285386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1532" indent="-228306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598145" indent="-228306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4760" indent="-22830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1374" indent="-22830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67988" indent="-22830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4598" indent="-22830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1213" indent="-22830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15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27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38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51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65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82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92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06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22" tIns="45660" rIns="91322" bIns="45660" numCol="1" rtlCol="0" anchor="t" anchorCtr="0" compatLnSpc="1">
            <a:prstTxWarp prst="textNoShape">
              <a:avLst/>
            </a:prstTxWarp>
          </a:bodyPr>
          <a:lstStyle/>
          <a:p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5" y="4867919"/>
            <a:ext cx="1258440" cy="246100"/>
          </a:xfrm>
          <a:prstGeom prst="rect">
            <a:avLst/>
          </a:prstGeom>
          <a:noFill/>
        </p:spPr>
        <p:txBody>
          <a:bodyPr wrap="none" lIns="91322" tIns="45660" rIns="91322" bIns="45660" rtlCol="0">
            <a:spAutoFit/>
          </a:bodyPr>
          <a:lstStyle/>
          <a:p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58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0"/>
            <a:ext cx="8229600" cy="648072"/>
          </a:xfrm>
          <a:prstGeom prst="rect">
            <a:avLst/>
          </a:prstGeom>
        </p:spPr>
        <p:txBody>
          <a:bodyPr vert="horz" lIns="91322" tIns="45660" rIns="91322" bIns="4566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65"/>
            <a:ext cx="8229600" cy="3394472"/>
          </a:xfrm>
          <a:prstGeom prst="rect">
            <a:avLst/>
          </a:prstGeom>
        </p:spPr>
        <p:txBody>
          <a:bodyPr vert="horz" lIns="91322" tIns="45660" rIns="91322" bIns="4566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297"/>
            <a:ext cx="360040" cy="193725"/>
          </a:xfrm>
          <a:prstGeom prst="rect">
            <a:avLst/>
          </a:prstGeom>
        </p:spPr>
        <p:txBody>
          <a:bodyPr lIns="91322" tIns="45660" rIns="91322" bIns="45660"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8" y="4894055"/>
            <a:ext cx="360040" cy="193725"/>
          </a:xfrm>
          <a:prstGeom prst="rect">
            <a:avLst/>
          </a:prstGeom>
        </p:spPr>
        <p:txBody>
          <a:bodyPr lIns="91322" tIns="45660" rIns="91322" bIns="45660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50" y="4855243"/>
            <a:ext cx="2578613" cy="19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308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</p:sldLayoutIdLst>
  <p:hf hdr="0" dt="0"/>
  <p:txStyles>
    <p:titleStyle>
      <a:lvl1pPr algn="l" defTabSz="913227" rtl="0" eaLnBrk="1" latinLnBrk="0" hangingPunct="1">
        <a:spcBef>
          <a:spcPct val="0"/>
        </a:spcBef>
        <a:buNone/>
        <a:defRPr sz="28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2457" indent="-342457" algn="l" defTabSz="913227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386" indent="-285386" algn="l" defTabSz="913227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2226" indent="-228306" algn="l" defTabSz="913227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8583" indent="-228306" algn="l" defTabSz="808583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74945" indent="-228306" algn="l" defTabSz="913227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1374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7988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4598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213" indent="-228306" algn="l" defTabSz="9132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15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27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38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51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65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82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92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06" algn="l" defTabSz="913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2" y="4765458"/>
            <a:ext cx="9144000" cy="378042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840" tIns="45419" rIns="90840" bIns="45419" numCol="1" rtlCol="0" anchor="t" anchorCtr="0" compatLnSpc="1">
            <a:prstTxWarp prst="textNoShape">
              <a:avLst/>
            </a:prstTxWarp>
          </a:bodyPr>
          <a:lstStyle/>
          <a:p>
            <a:pPr defTabSz="908397"/>
            <a:endParaRPr lang="en-IN" dirty="0">
              <a:solidFill>
                <a:srgbClr val="0065A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80319" y="4868112"/>
            <a:ext cx="1257466" cy="245613"/>
          </a:xfrm>
          <a:prstGeom prst="rect">
            <a:avLst/>
          </a:prstGeom>
          <a:noFill/>
        </p:spPr>
        <p:txBody>
          <a:bodyPr wrap="none" lIns="90840" tIns="45419" rIns="90840" bIns="45419" rtlCol="0">
            <a:spAutoFit/>
          </a:bodyPr>
          <a:lstStyle/>
          <a:p>
            <a:r>
              <a:rPr lang="en-IN" sz="1000" dirty="0">
                <a:solidFill>
                  <a:prstClr val="white">
                    <a:lumMod val="85000"/>
                  </a:prstClr>
                </a:solidFill>
                <a:latin typeface="Calibri" pitchFamily="34" charset="0"/>
                <a:cs typeface="Calibri" pitchFamily="34" charset="0"/>
              </a:rPr>
              <a:t>www.infocepts.com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638991" y="4924658"/>
            <a:ext cx="0" cy="923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481"/>
            <a:ext cx="8229600" cy="648072"/>
          </a:xfrm>
          <a:prstGeom prst="rect">
            <a:avLst/>
          </a:prstGeom>
        </p:spPr>
        <p:txBody>
          <a:bodyPr vert="horz" lIns="90840" tIns="45419" rIns="90840" bIns="45419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89562"/>
            <a:ext cx="8229600" cy="3394472"/>
          </a:xfrm>
          <a:prstGeom prst="rect">
            <a:avLst/>
          </a:prstGeom>
        </p:spPr>
        <p:txBody>
          <a:bodyPr vert="horz" lIns="90840" tIns="45419" rIns="90840" bIns="4541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632112" y="3922360"/>
            <a:ext cx="360040" cy="193724"/>
          </a:xfrm>
          <a:prstGeom prst="rect">
            <a:avLst/>
          </a:prstGeom>
        </p:spPr>
        <p:txBody>
          <a:bodyPr lIns="90840" tIns="45419" rIns="90840" bIns="45419"/>
          <a:lstStyle>
            <a:defPPr>
              <a:defRPr lang="en-IN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604447" y="4894015"/>
            <a:ext cx="360040" cy="193724"/>
          </a:xfrm>
          <a:prstGeom prst="rect">
            <a:avLst/>
          </a:prstGeom>
        </p:spPr>
        <p:txBody>
          <a:bodyPr lIns="90840" tIns="45419" rIns="90840" bIns="45419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IN" dirty="0">
                <a:solidFill>
                  <a:prstClr val="white"/>
                </a:solidFill>
              </a:rPr>
              <a:t>&lt;#&gt;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50" y="4855039"/>
            <a:ext cx="2578613" cy="19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255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</p:sldLayoutIdLst>
  <p:hf hdr="0" dt="0"/>
  <p:txStyles>
    <p:titleStyle>
      <a:lvl1pPr algn="l" defTabSz="908397" rtl="0" eaLnBrk="1" latinLnBrk="0" hangingPunct="1">
        <a:spcBef>
          <a:spcPct val="0"/>
        </a:spcBef>
        <a:buNone/>
        <a:defRPr sz="2700" kern="1200">
          <a:solidFill>
            <a:srgbClr val="0065A4"/>
          </a:solidFill>
          <a:latin typeface="+mj-lt"/>
          <a:ea typeface="+mj-ea"/>
          <a:cs typeface="+mj-cs"/>
        </a:defRPr>
      </a:lvl1pPr>
    </p:titleStyle>
    <p:bodyStyle>
      <a:lvl1pPr marL="340650" indent="-340650" algn="l" defTabSz="908397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3875" indent="-283875" algn="l" defTabSz="908397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39362" indent="-227099" algn="l" defTabSz="908397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04311" indent="-227099" algn="l" defTabSz="804311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5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69260" indent="-227099" algn="l" defTabSz="908397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9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498095" indent="-227099" algn="l" defTabSz="9083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52294" indent="-227099" algn="l" defTabSz="9083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06492" indent="-227099" algn="l" defTabSz="9083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60692" indent="-227099" algn="l" defTabSz="9083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83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198" algn="l" defTabSz="9083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8397" algn="l" defTabSz="9083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2595" algn="l" defTabSz="9083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6797" algn="l" defTabSz="9083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0997" algn="l" defTabSz="9083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5197" algn="l" defTabSz="9083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9394" algn="l" defTabSz="9083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3595" algn="l" defTabSz="9083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7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24961" y="1912878"/>
            <a:ext cx="44779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lvl="2" indent="-214313">
              <a:buFont typeface="Wingdings" panose="05000000000000000000" pitchFamily="2" charset="2"/>
              <a:buChar char="§"/>
              <a:defRPr/>
            </a:pPr>
            <a:endParaRPr lang="en-US" sz="1100" b="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24961" y="662515"/>
            <a:ext cx="295182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2">
              <a:defRPr/>
            </a:pPr>
            <a:endParaRPr lang="en-IN" sz="1500" dirty="0">
              <a:solidFill>
                <a:srgbClr val="0070C0"/>
              </a:solidFill>
              <a:latin typeface="+mn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34536" y="1846976"/>
            <a:ext cx="295182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2">
              <a:defRPr/>
            </a:pPr>
            <a:endParaRPr lang="en-IN" sz="1500" dirty="0">
              <a:solidFill>
                <a:srgbClr val="0070C0"/>
              </a:solidFill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7077" y="900562"/>
            <a:ext cx="44779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 lang="en-US" sz="1100" dirty="0">
              <a:solidFill>
                <a:prstClr val="black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5126115" y="829402"/>
            <a:ext cx="3477548" cy="2311316"/>
            <a:chOff x="5110910" y="691318"/>
            <a:chExt cx="3477548" cy="2311316"/>
          </a:xfrm>
        </p:grpSpPr>
        <p:sp>
          <p:nvSpPr>
            <p:cNvPr id="5" name="Rectangle 4"/>
            <p:cNvSpPr/>
            <p:nvPr/>
          </p:nvSpPr>
          <p:spPr>
            <a:xfrm>
              <a:off x="5110910" y="691318"/>
              <a:ext cx="3477548" cy="2311316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>
                <a:solidFill>
                  <a:prstClr val="white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5247120" y="1141549"/>
              <a:ext cx="3058827" cy="9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2">
                <a:defRPr/>
              </a:pPr>
              <a:r>
                <a:rPr lang="en-US" sz="1100" b="0" dirty="0" smtClean="0">
                  <a:solidFill>
                    <a:prstClr val="white"/>
                  </a:solidFill>
                  <a:latin typeface="+mn-lt"/>
                </a:rPr>
                <a:t>Completely automated and modular codes that can be replicated with proper visualization saving a lot of time and effort</a:t>
              </a:r>
              <a:endParaRPr lang="en-US" sz="1100" b="0" dirty="0" smtClean="0">
                <a:solidFill>
                  <a:prstClr val="white"/>
                </a:solidFill>
                <a:latin typeface="+mn-lt"/>
              </a:endParaRPr>
            </a:p>
            <a:p>
              <a:pPr marL="0" lvl="2">
                <a:defRPr/>
              </a:pPr>
              <a:endParaRPr lang="en-US" sz="1100" dirty="0">
                <a:solidFill>
                  <a:prstClr val="white"/>
                </a:solidFill>
              </a:endParaRPr>
            </a:p>
            <a:p>
              <a:pPr marL="214313" lvl="2" indent="-214313">
                <a:buFont typeface="Arial" panose="020B0604020202020204" pitchFamily="34" charset="0"/>
                <a:buChar char="•"/>
                <a:defRPr/>
              </a:pPr>
              <a:endParaRPr lang="en-US" sz="1100" dirty="0">
                <a:solidFill>
                  <a:prstClr val="white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247120" y="829402"/>
              <a:ext cx="102156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1600" b="1" dirty="0">
                  <a:solidFill>
                    <a:prstClr val="white">
                      <a:lumMod val="95000"/>
                    </a:prstClr>
                  </a:solidFill>
                  <a:latin typeface="+mn-lt"/>
                </a:rPr>
                <a:t>Benefits </a:t>
              </a:r>
              <a:r>
                <a:rPr lang="en-US" sz="1600" dirty="0">
                  <a:solidFill>
                    <a:prstClr val="white">
                      <a:lumMod val="95000"/>
                    </a:prstClr>
                  </a:solidFill>
                  <a:latin typeface="+mn-lt"/>
                </a:rPr>
                <a:t> </a:t>
              </a:r>
              <a:r>
                <a:rPr lang="en-IN" sz="1600" dirty="0">
                  <a:solidFill>
                    <a:prstClr val="white">
                      <a:lumMod val="95000"/>
                    </a:prstClr>
                  </a:solidFill>
                  <a:latin typeface="+mn-lt"/>
                </a:rPr>
                <a:t> 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5247120" y="2199650"/>
              <a:ext cx="304285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14313" lvl="2" indent="-214313">
                <a:buFont typeface="Arial" panose="020B0604020202020204" pitchFamily="34" charset="0"/>
                <a:buChar char="•"/>
                <a:defRPr/>
              </a:pPr>
              <a:r>
                <a:rPr lang="en-IN" sz="1100" b="0" dirty="0" smtClean="0">
                  <a:solidFill>
                    <a:prstClr val="white"/>
                  </a:solidFill>
                  <a:latin typeface="+mn-lt"/>
                </a:rPr>
                <a:t>R</a:t>
              </a:r>
              <a:endParaRPr lang="en-IN" sz="1100" b="0" dirty="0">
                <a:solidFill>
                  <a:prstClr val="white"/>
                </a:solidFill>
                <a:latin typeface="+mn-lt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5247120" y="1852923"/>
              <a:ext cx="166731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lvl="2">
                <a:defRPr/>
              </a:pPr>
              <a:r>
                <a:rPr lang="en-US" sz="1600" b="1" dirty="0">
                  <a:solidFill>
                    <a:prstClr val="white">
                      <a:lumMod val="95000"/>
                    </a:prstClr>
                  </a:solidFill>
                  <a:latin typeface="+mn-lt"/>
                </a:rPr>
                <a:t>Technology Used </a:t>
              </a:r>
            </a:p>
          </p:txBody>
        </p:sp>
        <p:cxnSp>
          <p:nvCxnSpPr>
            <p:cNvPr id="30" name="Straight Connector 29"/>
            <p:cNvCxnSpPr/>
            <p:nvPr/>
          </p:nvCxnSpPr>
          <p:spPr>
            <a:xfrm>
              <a:off x="5247120" y="1118432"/>
              <a:ext cx="296886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5247120" y="2824387"/>
              <a:ext cx="2968864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2400" dirty="0" smtClean="0">
                <a:ea typeface="Open Sans" panose="020B0606030504020204" pitchFamily="34" charset="0"/>
                <a:cs typeface="Open Sans" panose="020B0606030504020204" pitchFamily="34" charset="0"/>
              </a:rPr>
              <a:t>Network Intrusion - Technical Case Study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24961" y="824097"/>
            <a:ext cx="4495878" cy="3854208"/>
          </a:xfrm>
        </p:spPr>
        <p:txBody>
          <a:bodyPr>
            <a:normAutofit fontScale="92500" lnSpcReduction="20000"/>
          </a:bodyPr>
          <a:lstStyle/>
          <a:p>
            <a:pPr marL="0" lvl="2" indent="0" defTabSz="914400">
              <a:spcBef>
                <a:spcPct val="0"/>
              </a:spcBef>
              <a:buClrTx/>
              <a:buNone/>
              <a:defRPr/>
            </a:pPr>
            <a:r>
              <a:rPr lang="en-IN" sz="1500" b="1" kern="1200" dirty="0">
                <a:solidFill>
                  <a:srgbClr val="0070C0"/>
                </a:solidFill>
              </a:rPr>
              <a:t>Business </a:t>
            </a:r>
            <a:r>
              <a:rPr lang="en-IN" sz="1500" b="1" kern="1200" dirty="0" smtClean="0">
                <a:solidFill>
                  <a:srgbClr val="0070C0"/>
                </a:solidFill>
              </a:rPr>
              <a:t>Problem</a:t>
            </a:r>
          </a:p>
          <a:p>
            <a:pPr marL="0" indent="0">
              <a:buNone/>
            </a:pPr>
            <a:r>
              <a:rPr lang="en-US" dirty="0" smtClean="0"/>
              <a:t>The </a:t>
            </a:r>
            <a:r>
              <a:rPr lang="en-US" dirty="0"/>
              <a:t>dataset </a:t>
            </a:r>
            <a:r>
              <a:rPr lang="en-US" dirty="0" smtClean="0"/>
              <a:t>consisting </a:t>
            </a:r>
            <a:r>
              <a:rPr lang="en-US" dirty="0"/>
              <a:t>of a wide variety of intrusions simulated in a military network </a:t>
            </a:r>
            <a:r>
              <a:rPr lang="en-US" dirty="0" smtClean="0"/>
              <a:t>environment is to be audited. </a:t>
            </a:r>
            <a:r>
              <a:rPr lang="en-US" dirty="0"/>
              <a:t>A connection </a:t>
            </a:r>
            <a:r>
              <a:rPr lang="en-US" dirty="0" smtClean="0"/>
              <a:t>is established as </a:t>
            </a:r>
            <a:r>
              <a:rPr lang="en-US" dirty="0"/>
              <a:t>a sequence of TCP packets starting and ending at some time duration between which data flows to and from a source IP address to a target IP address under some well-defined protocol. Also, each connection is labelled as either normal or as an attack </a:t>
            </a:r>
            <a:endParaRPr lang="en-US" dirty="0" smtClean="0"/>
          </a:p>
          <a:p>
            <a:pPr marL="0" indent="0">
              <a:buNone/>
            </a:pPr>
            <a:r>
              <a:rPr lang="en-US" b="1" dirty="0" smtClean="0"/>
              <a:t>Problem </a:t>
            </a:r>
            <a:r>
              <a:rPr lang="en-US" b="1" dirty="0"/>
              <a:t>statement</a:t>
            </a:r>
            <a:r>
              <a:rPr lang="en-US" dirty="0"/>
              <a:t> – To identify if the new connection setup is normal or </a:t>
            </a:r>
            <a:r>
              <a:rPr lang="en-US" dirty="0" smtClean="0"/>
              <a:t>anomalous using Decision Trees and Random Forest</a:t>
            </a:r>
          </a:p>
          <a:p>
            <a:pPr marL="0" indent="0">
              <a:buNone/>
            </a:pPr>
            <a:endParaRPr lang="en-US" sz="1100" b="1" kern="1200" spc="0" dirty="0" smtClean="0">
              <a:solidFill>
                <a:prstClr val="black"/>
              </a:solidFill>
              <a:latin typeface="Arial" charset="0"/>
            </a:endParaRPr>
          </a:p>
          <a:p>
            <a:pPr marL="0" lvl="0" indent="0" defTabSz="914400">
              <a:spcBef>
                <a:spcPct val="0"/>
              </a:spcBef>
              <a:buNone/>
              <a:defRPr/>
            </a:pPr>
            <a:r>
              <a:rPr lang="en-IN" sz="1500" b="1" kern="1200" spc="0" dirty="0" smtClean="0">
                <a:solidFill>
                  <a:srgbClr val="0070C0"/>
                </a:solidFill>
              </a:rPr>
              <a:t>Technical Solution</a:t>
            </a:r>
            <a:endParaRPr lang="en-IN" sz="1500" b="1" kern="1200" spc="0" dirty="0" smtClean="0">
              <a:solidFill>
                <a:srgbClr val="0070C0"/>
              </a:solidFill>
            </a:endParaRPr>
          </a:p>
          <a:p>
            <a:pPr marL="214313" lvl="2" indent="-214313" defTabSz="914400">
              <a:spcBef>
                <a:spcPct val="0"/>
              </a:spcBef>
              <a:buClrTx/>
              <a:buFont typeface="Wingdings" panose="05000000000000000000" pitchFamily="2" charset="2"/>
              <a:buChar char="§"/>
              <a:defRPr/>
            </a:pPr>
            <a:r>
              <a:rPr lang="en-US" sz="1100" kern="1200" dirty="0" smtClean="0">
                <a:solidFill>
                  <a:prstClr val="black"/>
                </a:solidFill>
              </a:rPr>
              <a:t>A modular code is written with sections of Exploratory Data Analysis, Feature Engineering and model Building</a:t>
            </a:r>
          </a:p>
          <a:p>
            <a:pPr marL="214313" lvl="2" indent="-214313" defTabSz="914400">
              <a:spcBef>
                <a:spcPct val="0"/>
              </a:spcBef>
              <a:buClrTx/>
              <a:buFont typeface="Wingdings" panose="05000000000000000000" pitchFamily="2" charset="2"/>
              <a:buChar char="§"/>
              <a:defRPr/>
            </a:pPr>
            <a:endParaRPr lang="en-US" sz="1100" kern="1200" dirty="0" smtClean="0">
              <a:solidFill>
                <a:prstClr val="black"/>
              </a:solidFill>
            </a:endParaRPr>
          </a:p>
          <a:p>
            <a:pPr marL="214313" lvl="2" indent="-214313" defTabSz="914400">
              <a:spcBef>
                <a:spcPct val="0"/>
              </a:spcBef>
              <a:buClrTx/>
              <a:buFont typeface="Wingdings" panose="05000000000000000000" pitchFamily="2" charset="2"/>
              <a:buChar char="§"/>
              <a:defRPr/>
            </a:pPr>
            <a:r>
              <a:rPr lang="en-US" sz="1100" kern="1200" dirty="0" smtClean="0">
                <a:solidFill>
                  <a:prstClr val="black"/>
                </a:solidFill>
              </a:rPr>
              <a:t>For EDA section completely automated codes are written for both Numeric and Categorical Variables dealing with NA, missing and Outlier treatment</a:t>
            </a:r>
          </a:p>
          <a:p>
            <a:pPr marL="214313" lvl="2" indent="-214313" defTabSz="914400">
              <a:spcBef>
                <a:spcPct val="0"/>
              </a:spcBef>
              <a:buClrTx/>
              <a:buFont typeface="Wingdings" panose="05000000000000000000" pitchFamily="2" charset="2"/>
              <a:buChar char="§"/>
              <a:defRPr/>
            </a:pPr>
            <a:endParaRPr lang="en-US" sz="1100" kern="1200" dirty="0" smtClean="0">
              <a:solidFill>
                <a:prstClr val="black"/>
              </a:solidFill>
            </a:endParaRPr>
          </a:p>
          <a:p>
            <a:pPr marL="214313" lvl="2" indent="-214313" defTabSz="914400">
              <a:spcBef>
                <a:spcPct val="0"/>
              </a:spcBef>
              <a:buClrTx/>
              <a:buFont typeface="Wingdings" panose="05000000000000000000" pitchFamily="2" charset="2"/>
              <a:buChar char="§"/>
              <a:defRPr/>
            </a:pPr>
            <a:r>
              <a:rPr lang="en-US" sz="1100" kern="1200" dirty="0" smtClean="0">
                <a:solidFill>
                  <a:prstClr val="black"/>
                </a:solidFill>
              </a:rPr>
              <a:t>Different combinations of methods are tried for feature selection process and its found that fitter method provides better accuracy</a:t>
            </a:r>
          </a:p>
          <a:p>
            <a:pPr marL="214313" lvl="2" indent="-214313" defTabSz="914400">
              <a:spcBef>
                <a:spcPct val="0"/>
              </a:spcBef>
              <a:buClrTx/>
              <a:buFont typeface="Wingdings" panose="05000000000000000000" pitchFamily="2" charset="2"/>
              <a:buChar char="§"/>
              <a:defRPr/>
            </a:pPr>
            <a:endParaRPr lang="en-US" sz="1100" kern="1200" dirty="0" smtClean="0">
              <a:solidFill>
                <a:prstClr val="black"/>
              </a:solidFill>
            </a:endParaRPr>
          </a:p>
          <a:p>
            <a:pPr marL="214313" lvl="2" indent="-214313" defTabSz="914400">
              <a:spcBef>
                <a:spcPct val="0"/>
              </a:spcBef>
              <a:buClrTx/>
              <a:buFont typeface="Wingdings" panose="05000000000000000000" pitchFamily="2" charset="2"/>
              <a:buChar char="§"/>
              <a:defRPr/>
            </a:pPr>
            <a:r>
              <a:rPr lang="en-US" sz="1100" kern="1200" dirty="0" smtClean="0">
                <a:solidFill>
                  <a:prstClr val="black"/>
                </a:solidFill>
              </a:rPr>
              <a:t>For model building section a lot of model enhancement techniques like parameter selection, hyper parameter tuning is performed with proper visualization</a:t>
            </a:r>
          </a:p>
          <a:p>
            <a:pPr marL="214313" lvl="2" indent="-214313" defTabSz="914400">
              <a:spcBef>
                <a:spcPct val="0"/>
              </a:spcBef>
              <a:buClrTx/>
              <a:buFont typeface="Wingdings" panose="05000000000000000000" pitchFamily="2" charset="2"/>
              <a:buChar char="§"/>
              <a:defRPr/>
            </a:pPr>
            <a:endParaRPr lang="en-US" sz="1100" kern="1200" dirty="0" smtClean="0">
              <a:solidFill>
                <a:prstClr val="black"/>
              </a:solidFill>
            </a:endParaRPr>
          </a:p>
          <a:p>
            <a:pPr marL="214313" lvl="2" indent="-214313" defTabSz="914400">
              <a:spcBef>
                <a:spcPct val="0"/>
              </a:spcBef>
              <a:buClrTx/>
              <a:buFont typeface="Wingdings" panose="05000000000000000000" pitchFamily="2" charset="2"/>
              <a:buChar char="§"/>
              <a:defRPr/>
            </a:pPr>
            <a:r>
              <a:rPr lang="en-US" sz="1100" kern="1200" dirty="0" smtClean="0">
                <a:solidFill>
                  <a:prstClr val="black"/>
                </a:solidFill>
              </a:rPr>
              <a:t>Best model found </a:t>
            </a:r>
            <a:r>
              <a:rPr lang="en-US" sz="1100" kern="1200" dirty="0" smtClean="0">
                <a:solidFill>
                  <a:prstClr val="black"/>
                </a:solidFill>
              </a:rPr>
              <a:t>has accuracy of 80.2% and is pre pruned decision tree with max number of levels selected for split are 8 and minimum number of observations per node are 100 using p values and co relation method for feature selection</a:t>
            </a:r>
            <a:endParaRPr lang="en-US" sz="1100" kern="1200" dirty="0" smtClean="0">
              <a:solidFill>
                <a:prstClr val="black"/>
              </a:solidFill>
            </a:endParaRPr>
          </a:p>
          <a:p>
            <a:pPr marL="0" lvl="0" indent="0" defTabSz="914400">
              <a:spcBef>
                <a:spcPct val="0"/>
              </a:spcBef>
              <a:buNone/>
              <a:defRPr/>
            </a:pPr>
            <a:endParaRPr lang="en-IN" b="1" kern="1200" spc="0" dirty="0" smtClean="0">
              <a:solidFill>
                <a:srgbClr val="0070C0"/>
              </a:solidFill>
            </a:endParaRPr>
          </a:p>
          <a:p>
            <a:pPr marL="0" lvl="0" indent="0" defTabSz="914400">
              <a:spcBef>
                <a:spcPct val="0"/>
              </a:spcBef>
              <a:buNone/>
              <a:defRPr/>
            </a:pPr>
            <a:endParaRPr lang="en-US" sz="1100" b="1" kern="1200" spc="0" dirty="0" smtClean="0">
              <a:solidFill>
                <a:prstClr val="black"/>
              </a:solidFill>
              <a:latin typeface="Arial" charset="0"/>
            </a:endParaRPr>
          </a:p>
          <a:p>
            <a:pPr marL="0" lvl="2" indent="0" defTabSz="914400">
              <a:spcBef>
                <a:spcPct val="0"/>
              </a:spcBef>
              <a:buClrTx/>
              <a:buNone/>
              <a:defRPr/>
            </a:pPr>
            <a:endParaRPr lang="en-IN" sz="1500" b="1" kern="1200" dirty="0" smtClean="0">
              <a:solidFill>
                <a:srgbClr val="0070C0"/>
              </a:solidFill>
            </a:endParaRPr>
          </a:p>
          <a:p>
            <a:endParaRPr lang="en-IN" dirty="0"/>
          </a:p>
        </p:txBody>
      </p:sp>
      <p:pic>
        <p:nvPicPr>
          <p:cNvPr id="25" name="Picture 2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8347" y="2668583"/>
            <a:ext cx="3096344" cy="170124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196286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.GcqQ5m0atbWgC1Pg67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.GcqQ5m0atbWgC1Pg67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.GcqQ5m0atbWgC1Pg67w"/>
</p:tagLst>
</file>

<file path=ppt/theme/theme1.xml><?xml version="1.0" encoding="utf-8"?>
<a:theme xmlns:a="http://schemas.openxmlformats.org/drawingml/2006/main" name="Infocepts Generic template_final">
  <a:themeElements>
    <a:clrScheme name="InfoCepts Colors">
      <a:dk1>
        <a:srgbClr val="262626"/>
      </a:dk1>
      <a:lt1>
        <a:sysClr val="window" lastClr="FFFFFF"/>
      </a:lt1>
      <a:dk2>
        <a:srgbClr val="1F497D"/>
      </a:dk2>
      <a:lt2>
        <a:srgbClr val="F2F2F2"/>
      </a:lt2>
      <a:accent1>
        <a:srgbClr val="0065A4"/>
      </a:accent1>
      <a:accent2>
        <a:srgbClr val="84153E"/>
      </a:accent2>
      <a:accent3>
        <a:srgbClr val="83A343"/>
      </a:accent3>
      <a:accent4>
        <a:srgbClr val="784894"/>
      </a:accent4>
      <a:accent5>
        <a:srgbClr val="31859B"/>
      </a:accent5>
      <a:accent6>
        <a:srgbClr val="C85014"/>
      </a:accent6>
      <a:hlink>
        <a:srgbClr val="00B0F0"/>
      </a:hlink>
      <a:folHlink>
        <a:srgbClr val="B5950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7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9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4_InfoCepts-General-Presentation-Template">
  <a:themeElements>
    <a:clrScheme name="InfoCepts-General-Presentation-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InfoCepts-General-Presentation-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IN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IN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InfoCepts-General-Presentation-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foCepts-General-Presentation-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foCepts-General-Presentation-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foCepts-General-Presentation-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foCepts-General-Presentation-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foCepts-General-Presentation-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2_Infocepts Generic template_final">
  <a:themeElements>
    <a:clrScheme name="InfoCepts Colors">
      <a:dk1>
        <a:srgbClr val="262626"/>
      </a:dk1>
      <a:lt1>
        <a:sysClr val="window" lastClr="FFFFFF"/>
      </a:lt1>
      <a:dk2>
        <a:srgbClr val="1F497D"/>
      </a:dk2>
      <a:lt2>
        <a:srgbClr val="F2F2F2"/>
      </a:lt2>
      <a:accent1>
        <a:srgbClr val="0065A4"/>
      </a:accent1>
      <a:accent2>
        <a:srgbClr val="84153E"/>
      </a:accent2>
      <a:accent3>
        <a:srgbClr val="83A343"/>
      </a:accent3>
      <a:accent4>
        <a:srgbClr val="784894"/>
      </a:accent4>
      <a:accent5>
        <a:srgbClr val="31859B"/>
      </a:accent5>
      <a:accent6>
        <a:srgbClr val="C85014"/>
      </a:accent6>
      <a:hlink>
        <a:srgbClr val="00B0F0"/>
      </a:hlink>
      <a:folHlink>
        <a:srgbClr val="B5950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12_Custom Design">
  <a:themeElements>
    <a:clrScheme name="InfoCepts Colors">
      <a:dk1>
        <a:srgbClr val="262626"/>
      </a:dk1>
      <a:lt1>
        <a:sysClr val="window" lastClr="FFFFFF"/>
      </a:lt1>
      <a:dk2>
        <a:srgbClr val="1F497D"/>
      </a:dk2>
      <a:lt2>
        <a:srgbClr val="F2F2F2"/>
      </a:lt2>
      <a:accent1>
        <a:srgbClr val="0065A4"/>
      </a:accent1>
      <a:accent2>
        <a:srgbClr val="84153E"/>
      </a:accent2>
      <a:accent3>
        <a:srgbClr val="83A343"/>
      </a:accent3>
      <a:accent4>
        <a:srgbClr val="784894"/>
      </a:accent4>
      <a:accent5>
        <a:srgbClr val="31859B"/>
      </a:accent5>
      <a:accent6>
        <a:srgbClr val="C85014"/>
      </a:accent6>
      <a:hlink>
        <a:srgbClr val="00B0F0"/>
      </a:hlink>
      <a:folHlink>
        <a:srgbClr val="B5950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5_InfoCepts-General-Presentation-Template">
  <a:themeElements>
    <a:clrScheme name="InfoCepts-General-Presentation-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InfoCepts-General-Presentation-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IN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IN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InfoCepts-General-Presentation-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foCepts-General-Presentation-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foCepts-General-Presentation-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foCepts-General-Presentation-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foCepts-General-Presentation-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foCepts-General-Presentation-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6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20_Custom Design">
  <a:themeElements>
    <a:clrScheme name="InfoCepts Colors">
      <a:dk1>
        <a:srgbClr val="262626"/>
      </a:dk1>
      <a:lt1>
        <a:sysClr val="window" lastClr="FFFFFF"/>
      </a:lt1>
      <a:dk2>
        <a:srgbClr val="1F497D"/>
      </a:dk2>
      <a:lt2>
        <a:srgbClr val="F2F2F2"/>
      </a:lt2>
      <a:accent1>
        <a:srgbClr val="0065A4"/>
      </a:accent1>
      <a:accent2>
        <a:srgbClr val="84153E"/>
      </a:accent2>
      <a:accent3>
        <a:srgbClr val="83A343"/>
      </a:accent3>
      <a:accent4>
        <a:srgbClr val="784894"/>
      </a:accent4>
      <a:accent5>
        <a:srgbClr val="31859B"/>
      </a:accent5>
      <a:accent6>
        <a:srgbClr val="C85014"/>
      </a:accent6>
      <a:hlink>
        <a:srgbClr val="00B0F0"/>
      </a:hlink>
      <a:folHlink>
        <a:srgbClr val="B5950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2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29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37_Custom Design">
  <a:themeElements>
    <a:clrScheme name="InfoCepts Colors">
      <a:dk1>
        <a:srgbClr val="262626"/>
      </a:dk1>
      <a:lt1>
        <a:sysClr val="window" lastClr="FFFFFF"/>
      </a:lt1>
      <a:dk2>
        <a:srgbClr val="1F497D"/>
      </a:dk2>
      <a:lt2>
        <a:srgbClr val="F2F2F2"/>
      </a:lt2>
      <a:accent1>
        <a:srgbClr val="0065A4"/>
      </a:accent1>
      <a:accent2>
        <a:srgbClr val="84153E"/>
      </a:accent2>
      <a:accent3>
        <a:srgbClr val="83A343"/>
      </a:accent3>
      <a:accent4>
        <a:srgbClr val="784894"/>
      </a:accent4>
      <a:accent5>
        <a:srgbClr val="31859B"/>
      </a:accent5>
      <a:accent6>
        <a:srgbClr val="C85014"/>
      </a:accent6>
      <a:hlink>
        <a:srgbClr val="00B0F0"/>
      </a:hlink>
      <a:folHlink>
        <a:srgbClr val="B5950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42_Custom Design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4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4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5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3_Infocepts Generic template_final_16x9">
  <a:themeElements>
    <a:clrScheme name="i9_Multicolored">
      <a:dk1>
        <a:srgbClr val="57565A"/>
      </a:dk1>
      <a:lt1>
        <a:sysClr val="window" lastClr="FFFFFF"/>
      </a:lt1>
      <a:dk2>
        <a:srgbClr val="21B169"/>
      </a:dk2>
      <a:lt2>
        <a:srgbClr val="CF423F"/>
      </a:lt2>
      <a:accent1>
        <a:srgbClr val="4DB3C7"/>
      </a:accent1>
      <a:accent2>
        <a:srgbClr val="85CA46"/>
      </a:accent2>
      <a:accent3>
        <a:srgbClr val="F49D00"/>
      </a:accent3>
      <a:accent4>
        <a:srgbClr val="D2326B"/>
      </a:accent4>
      <a:accent5>
        <a:srgbClr val="1D6E9B"/>
      </a:accent5>
      <a:accent6>
        <a:srgbClr val="6850B4"/>
      </a:accent6>
      <a:hlink>
        <a:srgbClr val="7030A0"/>
      </a:hlink>
      <a:folHlink>
        <a:srgbClr val="00B0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28.xml><?xml version="1.0" encoding="utf-8"?>
<a:theme xmlns:a="http://schemas.openxmlformats.org/drawingml/2006/main" name="5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InfoCepts-General-Presentation-Template">
  <a:themeElements>
    <a:clrScheme name="InfoCepts-General-Presentation-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InfoCepts-General-Presentation-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IN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IN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InfoCepts-General-Presentation-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foCepts-General-Presentation-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foCepts-General-Presentation-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foCepts-General-Presentation-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foCepts-General-Presentation-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foCepts-General-Presentation-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56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1.xml><?xml version="1.0" encoding="utf-8"?>
<a:theme xmlns:a="http://schemas.openxmlformats.org/drawingml/2006/main" name="6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2.xml><?xml version="1.0" encoding="utf-8"?>
<a:theme xmlns:a="http://schemas.openxmlformats.org/drawingml/2006/main" name="57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3.xml><?xml version="1.0" encoding="utf-8"?>
<a:theme xmlns:a="http://schemas.openxmlformats.org/drawingml/2006/main" name="2_LSHC - Bayer Clinical Trials App">
  <a:themeElements>
    <a:clrScheme name="Custom 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92D050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4.xml><?xml version="1.0" encoding="utf-8"?>
<a:theme xmlns:a="http://schemas.openxmlformats.org/drawingml/2006/main" name="5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5.xml><?xml version="1.0" encoding="utf-8"?>
<a:theme xmlns:a="http://schemas.openxmlformats.org/drawingml/2006/main" name="59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6.xml><?xml version="1.0" encoding="utf-8"?>
<a:theme xmlns:a="http://schemas.openxmlformats.org/drawingml/2006/main" name="60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7.xml><?xml version="1.0" encoding="utf-8"?>
<a:theme xmlns:a="http://schemas.openxmlformats.org/drawingml/2006/main" name="3_Office Theme">
  <a:themeElements>
    <a:clrScheme name="i9_Multicolored">
      <a:dk1>
        <a:srgbClr val="57565A"/>
      </a:dk1>
      <a:lt1>
        <a:sysClr val="window" lastClr="FFFFFF"/>
      </a:lt1>
      <a:dk2>
        <a:srgbClr val="21B169"/>
      </a:dk2>
      <a:lt2>
        <a:srgbClr val="CF423F"/>
      </a:lt2>
      <a:accent1>
        <a:srgbClr val="4DB3C7"/>
      </a:accent1>
      <a:accent2>
        <a:srgbClr val="85CA46"/>
      </a:accent2>
      <a:accent3>
        <a:srgbClr val="F49D00"/>
      </a:accent3>
      <a:accent4>
        <a:srgbClr val="D2326B"/>
      </a:accent4>
      <a:accent5>
        <a:srgbClr val="1D6E9B"/>
      </a:accent5>
      <a:accent6>
        <a:srgbClr val="6850B4"/>
      </a:accent6>
      <a:hlink>
        <a:srgbClr val="7030A0"/>
      </a:hlink>
      <a:folHlink>
        <a:srgbClr val="00B0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38.xml><?xml version="1.0" encoding="utf-8"?>
<a:theme xmlns:a="http://schemas.openxmlformats.org/drawingml/2006/main" name="6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9.xml><?xml version="1.0" encoding="utf-8"?>
<a:theme xmlns:a="http://schemas.openxmlformats.org/drawingml/2006/main" name="6_Office Theme">
  <a:themeElements>
    <a:clrScheme name="i9_Multicolored">
      <a:dk1>
        <a:srgbClr val="57565A"/>
      </a:dk1>
      <a:lt1>
        <a:sysClr val="window" lastClr="FFFFFF"/>
      </a:lt1>
      <a:dk2>
        <a:srgbClr val="21B169"/>
      </a:dk2>
      <a:lt2>
        <a:srgbClr val="CF423F"/>
      </a:lt2>
      <a:accent1>
        <a:srgbClr val="4DB3C7"/>
      </a:accent1>
      <a:accent2>
        <a:srgbClr val="85CA46"/>
      </a:accent2>
      <a:accent3>
        <a:srgbClr val="F49D00"/>
      </a:accent3>
      <a:accent4>
        <a:srgbClr val="D2326B"/>
      </a:accent4>
      <a:accent5>
        <a:srgbClr val="1D6E9B"/>
      </a:accent5>
      <a:accent6>
        <a:srgbClr val="6850B4"/>
      </a:accent6>
      <a:hlink>
        <a:srgbClr val="7030A0"/>
      </a:hlink>
      <a:folHlink>
        <a:srgbClr val="00B0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1_Infocepts Generic template_final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0.xml><?xml version="1.0" encoding="utf-8"?>
<a:theme xmlns:a="http://schemas.openxmlformats.org/drawingml/2006/main" name="6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1.xml><?xml version="1.0" encoding="utf-8"?>
<a:theme xmlns:a="http://schemas.openxmlformats.org/drawingml/2006/main" name="6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2.xml><?xml version="1.0" encoding="utf-8"?>
<a:theme xmlns:a="http://schemas.openxmlformats.org/drawingml/2006/main" name="69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3.xml><?xml version="1.0" encoding="utf-8"?>
<a:theme xmlns:a="http://schemas.openxmlformats.org/drawingml/2006/main" name="5_Infocepts Generic template_final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4.xml><?xml version="1.0" encoding="utf-8"?>
<a:theme xmlns:a="http://schemas.openxmlformats.org/drawingml/2006/main" name="2_Infocepts Generic template_final_16x9">
  <a:themeElements>
    <a:clrScheme name="i9_Multicolored">
      <a:dk1>
        <a:srgbClr val="57565A"/>
      </a:dk1>
      <a:lt1>
        <a:sysClr val="window" lastClr="FFFFFF"/>
      </a:lt1>
      <a:dk2>
        <a:srgbClr val="21B169"/>
      </a:dk2>
      <a:lt2>
        <a:srgbClr val="CF423F"/>
      </a:lt2>
      <a:accent1>
        <a:srgbClr val="4DB3C7"/>
      </a:accent1>
      <a:accent2>
        <a:srgbClr val="85CA46"/>
      </a:accent2>
      <a:accent3>
        <a:srgbClr val="F49D00"/>
      </a:accent3>
      <a:accent4>
        <a:srgbClr val="D2326B"/>
      </a:accent4>
      <a:accent5>
        <a:srgbClr val="1D6E9B"/>
      </a:accent5>
      <a:accent6>
        <a:srgbClr val="6850B4"/>
      </a:accent6>
      <a:hlink>
        <a:srgbClr val="7030A0"/>
      </a:hlink>
      <a:folHlink>
        <a:srgbClr val="00B0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45.xml><?xml version="1.0" encoding="utf-8"?>
<a:theme xmlns:a="http://schemas.openxmlformats.org/drawingml/2006/main" name="13_Infocepts Generic template_final_16x9">
  <a:themeElements>
    <a:clrScheme name="i9_Multicolored">
      <a:dk1>
        <a:srgbClr val="57565A"/>
      </a:dk1>
      <a:lt1>
        <a:sysClr val="window" lastClr="FFFFFF"/>
      </a:lt1>
      <a:dk2>
        <a:srgbClr val="21B169"/>
      </a:dk2>
      <a:lt2>
        <a:srgbClr val="CF423F"/>
      </a:lt2>
      <a:accent1>
        <a:srgbClr val="4DB3C7"/>
      </a:accent1>
      <a:accent2>
        <a:srgbClr val="85CA46"/>
      </a:accent2>
      <a:accent3>
        <a:srgbClr val="F49D00"/>
      </a:accent3>
      <a:accent4>
        <a:srgbClr val="D2326B"/>
      </a:accent4>
      <a:accent5>
        <a:srgbClr val="1D6E9B"/>
      </a:accent5>
      <a:accent6>
        <a:srgbClr val="6850B4"/>
      </a:accent6>
      <a:hlink>
        <a:srgbClr val="7030A0"/>
      </a:hlink>
      <a:folHlink>
        <a:srgbClr val="00B0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46.xml><?xml version="1.0" encoding="utf-8"?>
<a:theme xmlns:a="http://schemas.openxmlformats.org/drawingml/2006/main" name="1_Infocepts Generic template_final_16x9">
  <a:themeElements>
    <a:clrScheme name="i9_Multicolored">
      <a:dk1>
        <a:srgbClr val="57565A"/>
      </a:dk1>
      <a:lt1>
        <a:sysClr val="window" lastClr="FFFFFF"/>
      </a:lt1>
      <a:dk2>
        <a:srgbClr val="21B169"/>
      </a:dk2>
      <a:lt2>
        <a:srgbClr val="CF423F"/>
      </a:lt2>
      <a:accent1>
        <a:srgbClr val="4DB3C7"/>
      </a:accent1>
      <a:accent2>
        <a:srgbClr val="85CA46"/>
      </a:accent2>
      <a:accent3>
        <a:srgbClr val="F49D00"/>
      </a:accent3>
      <a:accent4>
        <a:srgbClr val="D2326B"/>
      </a:accent4>
      <a:accent5>
        <a:srgbClr val="1D6E9B"/>
      </a:accent5>
      <a:accent6>
        <a:srgbClr val="6850B4"/>
      </a:accent6>
      <a:hlink>
        <a:srgbClr val="7030A0"/>
      </a:hlink>
      <a:folHlink>
        <a:srgbClr val="00B0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47.xml><?xml version="1.0" encoding="utf-8"?>
<a:theme xmlns:a="http://schemas.openxmlformats.org/drawingml/2006/main" name="14_Infocepts Generic template_final_16x9">
  <a:themeElements>
    <a:clrScheme name="i9_Multicolored">
      <a:dk1>
        <a:srgbClr val="57565A"/>
      </a:dk1>
      <a:lt1>
        <a:sysClr val="window" lastClr="FFFFFF"/>
      </a:lt1>
      <a:dk2>
        <a:srgbClr val="21B169"/>
      </a:dk2>
      <a:lt2>
        <a:srgbClr val="CF423F"/>
      </a:lt2>
      <a:accent1>
        <a:srgbClr val="4DB3C7"/>
      </a:accent1>
      <a:accent2>
        <a:srgbClr val="85CA46"/>
      </a:accent2>
      <a:accent3>
        <a:srgbClr val="F49D00"/>
      </a:accent3>
      <a:accent4>
        <a:srgbClr val="D2326B"/>
      </a:accent4>
      <a:accent5>
        <a:srgbClr val="1D6E9B"/>
      </a:accent5>
      <a:accent6>
        <a:srgbClr val="6850B4"/>
      </a:accent6>
      <a:hlink>
        <a:srgbClr val="7030A0"/>
      </a:hlink>
      <a:folHlink>
        <a:srgbClr val="00B0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48.xml><?xml version="1.0" encoding="utf-8"?>
<a:theme xmlns:a="http://schemas.openxmlformats.org/drawingml/2006/main" name="70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9.xml><?xml version="1.0" encoding="utf-8"?>
<a:theme xmlns:a="http://schemas.openxmlformats.org/drawingml/2006/main" name="2_Office Theme">
  <a:themeElements>
    <a:clrScheme name="i9_Multicolored">
      <a:dk1>
        <a:srgbClr val="57565A"/>
      </a:dk1>
      <a:lt1>
        <a:sysClr val="window" lastClr="FFFFFF"/>
      </a:lt1>
      <a:dk2>
        <a:srgbClr val="21B169"/>
      </a:dk2>
      <a:lt2>
        <a:srgbClr val="CF423F"/>
      </a:lt2>
      <a:accent1>
        <a:srgbClr val="4DB3C7"/>
      </a:accent1>
      <a:accent2>
        <a:srgbClr val="85CA46"/>
      </a:accent2>
      <a:accent3>
        <a:srgbClr val="F49D00"/>
      </a:accent3>
      <a:accent4>
        <a:srgbClr val="D2326B"/>
      </a:accent4>
      <a:accent5>
        <a:srgbClr val="1D6E9B"/>
      </a:accent5>
      <a:accent6>
        <a:srgbClr val="6850B4"/>
      </a:accent6>
      <a:hlink>
        <a:srgbClr val="7030A0"/>
      </a:hlink>
      <a:folHlink>
        <a:srgbClr val="00B0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0.xml><?xml version="1.0" encoding="utf-8"?>
<a:theme xmlns:a="http://schemas.openxmlformats.org/drawingml/2006/main" name="4_Infocepts Generic template_final_16x9">
  <a:themeElements>
    <a:clrScheme name="i9_Multicolored">
      <a:dk1>
        <a:srgbClr val="57565A"/>
      </a:dk1>
      <a:lt1>
        <a:sysClr val="window" lastClr="FFFFFF"/>
      </a:lt1>
      <a:dk2>
        <a:srgbClr val="21B169"/>
      </a:dk2>
      <a:lt2>
        <a:srgbClr val="CF423F"/>
      </a:lt2>
      <a:accent1>
        <a:srgbClr val="4DB3C7"/>
      </a:accent1>
      <a:accent2>
        <a:srgbClr val="85CA46"/>
      </a:accent2>
      <a:accent3>
        <a:srgbClr val="F49D00"/>
      </a:accent3>
      <a:accent4>
        <a:srgbClr val="D2326B"/>
      </a:accent4>
      <a:accent5>
        <a:srgbClr val="1D6E9B"/>
      </a:accent5>
      <a:accent6>
        <a:srgbClr val="6850B4"/>
      </a:accent6>
      <a:hlink>
        <a:srgbClr val="7030A0"/>
      </a:hlink>
      <a:folHlink>
        <a:srgbClr val="00B0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51.xml><?xml version="1.0" encoding="utf-8"?>
<a:theme xmlns:a="http://schemas.openxmlformats.org/drawingml/2006/main" name="7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2.xml><?xml version="1.0" encoding="utf-8"?>
<a:theme xmlns:a="http://schemas.openxmlformats.org/drawingml/2006/main" name="7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3.xml><?xml version="1.0" encoding="utf-8"?>
<a:theme xmlns:a="http://schemas.openxmlformats.org/drawingml/2006/main" name="6_Infocepts Generic template_final_16x9">
  <a:themeElements>
    <a:clrScheme name="i9_Multicolored">
      <a:dk1>
        <a:srgbClr val="57565A"/>
      </a:dk1>
      <a:lt1>
        <a:sysClr val="window" lastClr="FFFFFF"/>
      </a:lt1>
      <a:dk2>
        <a:srgbClr val="21B169"/>
      </a:dk2>
      <a:lt2>
        <a:srgbClr val="CF423F"/>
      </a:lt2>
      <a:accent1>
        <a:srgbClr val="4DB3C7"/>
      </a:accent1>
      <a:accent2>
        <a:srgbClr val="85CA46"/>
      </a:accent2>
      <a:accent3>
        <a:srgbClr val="F49D00"/>
      </a:accent3>
      <a:accent4>
        <a:srgbClr val="D2326B"/>
      </a:accent4>
      <a:accent5>
        <a:srgbClr val="1D6E9B"/>
      </a:accent5>
      <a:accent6>
        <a:srgbClr val="6850B4"/>
      </a:accent6>
      <a:hlink>
        <a:srgbClr val="7030A0"/>
      </a:hlink>
      <a:folHlink>
        <a:srgbClr val="00B0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54.xml><?xml version="1.0" encoding="utf-8"?>
<a:theme xmlns:a="http://schemas.openxmlformats.org/drawingml/2006/main" name="7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5.xml><?xml version="1.0" encoding="utf-8"?>
<a:theme xmlns:a="http://schemas.openxmlformats.org/drawingml/2006/main" name="7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6.xml><?xml version="1.0" encoding="utf-8"?>
<a:theme xmlns:a="http://schemas.openxmlformats.org/drawingml/2006/main" name="4_Office Theme">
  <a:themeElements>
    <a:clrScheme name="i9_Multicolored">
      <a:dk1>
        <a:srgbClr val="57565A"/>
      </a:dk1>
      <a:lt1>
        <a:sysClr val="window" lastClr="FFFFFF"/>
      </a:lt1>
      <a:dk2>
        <a:srgbClr val="21B169"/>
      </a:dk2>
      <a:lt2>
        <a:srgbClr val="CF423F"/>
      </a:lt2>
      <a:accent1>
        <a:srgbClr val="4DB3C7"/>
      </a:accent1>
      <a:accent2>
        <a:srgbClr val="85CA46"/>
      </a:accent2>
      <a:accent3>
        <a:srgbClr val="F49D00"/>
      </a:accent3>
      <a:accent4>
        <a:srgbClr val="D2326B"/>
      </a:accent4>
      <a:accent5>
        <a:srgbClr val="1D6E9B"/>
      </a:accent5>
      <a:accent6>
        <a:srgbClr val="6850B4"/>
      </a:accent6>
      <a:hlink>
        <a:srgbClr val="7030A0"/>
      </a:hlink>
      <a:folHlink>
        <a:srgbClr val="00B0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57.xml><?xml version="1.0" encoding="utf-8"?>
<a:theme xmlns:a="http://schemas.openxmlformats.org/drawingml/2006/main" name="12_Office Theme">
  <a:themeElements>
    <a:clrScheme name="i9_Multicolored">
      <a:dk1>
        <a:srgbClr val="57565A"/>
      </a:dk1>
      <a:lt1>
        <a:sysClr val="window" lastClr="FFFFFF"/>
      </a:lt1>
      <a:dk2>
        <a:srgbClr val="21B169"/>
      </a:dk2>
      <a:lt2>
        <a:srgbClr val="CF423F"/>
      </a:lt2>
      <a:accent1>
        <a:srgbClr val="4DB3C7"/>
      </a:accent1>
      <a:accent2>
        <a:srgbClr val="85CA46"/>
      </a:accent2>
      <a:accent3>
        <a:srgbClr val="F49D00"/>
      </a:accent3>
      <a:accent4>
        <a:srgbClr val="D2326B"/>
      </a:accent4>
      <a:accent5>
        <a:srgbClr val="1D6E9B"/>
      </a:accent5>
      <a:accent6>
        <a:srgbClr val="6850B4"/>
      </a:accent6>
      <a:hlink>
        <a:srgbClr val="7030A0"/>
      </a:hlink>
      <a:folHlink>
        <a:srgbClr val="00B0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58.xml><?xml version="1.0" encoding="utf-8"?>
<a:theme xmlns:a="http://schemas.openxmlformats.org/drawingml/2006/main" name="18_Infocepts Generic template_final_16x9">
  <a:themeElements>
    <a:clrScheme name="i9_Multicolored">
      <a:dk1>
        <a:srgbClr val="57565A"/>
      </a:dk1>
      <a:lt1>
        <a:sysClr val="window" lastClr="FFFFFF"/>
      </a:lt1>
      <a:dk2>
        <a:srgbClr val="21B169"/>
      </a:dk2>
      <a:lt2>
        <a:srgbClr val="CF423F"/>
      </a:lt2>
      <a:accent1>
        <a:srgbClr val="4DB3C7"/>
      </a:accent1>
      <a:accent2>
        <a:srgbClr val="85CA46"/>
      </a:accent2>
      <a:accent3>
        <a:srgbClr val="F49D00"/>
      </a:accent3>
      <a:accent4>
        <a:srgbClr val="D2326B"/>
      </a:accent4>
      <a:accent5>
        <a:srgbClr val="1D6E9B"/>
      </a:accent5>
      <a:accent6>
        <a:srgbClr val="6850B4"/>
      </a:accent6>
      <a:hlink>
        <a:srgbClr val="7030A0"/>
      </a:hlink>
      <a:folHlink>
        <a:srgbClr val="00B0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59.xml><?xml version="1.0" encoding="utf-8"?>
<a:theme xmlns:a="http://schemas.openxmlformats.org/drawingml/2006/main" name="7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0.xml><?xml version="1.0" encoding="utf-8"?>
<a:theme xmlns:a="http://schemas.openxmlformats.org/drawingml/2006/main" name="6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1.xml><?xml version="1.0" encoding="utf-8"?>
<a:theme xmlns:a="http://schemas.openxmlformats.org/drawingml/2006/main" name="5_Infocepts Generic template_final_16x9">
  <a:themeElements>
    <a:clrScheme name="i9_Multicolored">
      <a:dk1>
        <a:srgbClr val="57565A"/>
      </a:dk1>
      <a:lt1>
        <a:sysClr val="window" lastClr="FFFFFF"/>
      </a:lt1>
      <a:dk2>
        <a:srgbClr val="21B169"/>
      </a:dk2>
      <a:lt2>
        <a:srgbClr val="CF423F"/>
      </a:lt2>
      <a:accent1>
        <a:srgbClr val="4DB3C7"/>
      </a:accent1>
      <a:accent2>
        <a:srgbClr val="85CA46"/>
      </a:accent2>
      <a:accent3>
        <a:srgbClr val="F49D00"/>
      </a:accent3>
      <a:accent4>
        <a:srgbClr val="D2326B"/>
      </a:accent4>
      <a:accent5>
        <a:srgbClr val="1D6E9B"/>
      </a:accent5>
      <a:accent6>
        <a:srgbClr val="6850B4"/>
      </a:accent6>
      <a:hlink>
        <a:srgbClr val="7030A0"/>
      </a:hlink>
      <a:folHlink>
        <a:srgbClr val="00B0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62.xml><?xml version="1.0" encoding="utf-8"?>
<a:theme xmlns:a="http://schemas.openxmlformats.org/drawingml/2006/main" name="5_Custom Design">
  <a:themeElements>
    <a:clrScheme name="InfoCepts Colors">
      <a:dk1>
        <a:srgbClr val="262626"/>
      </a:dk1>
      <a:lt1>
        <a:sysClr val="window" lastClr="FFFFFF"/>
      </a:lt1>
      <a:dk2>
        <a:srgbClr val="1F497D"/>
      </a:dk2>
      <a:lt2>
        <a:srgbClr val="F2F2F2"/>
      </a:lt2>
      <a:accent1>
        <a:srgbClr val="0065A4"/>
      </a:accent1>
      <a:accent2>
        <a:srgbClr val="84153E"/>
      </a:accent2>
      <a:accent3>
        <a:srgbClr val="83A343"/>
      </a:accent3>
      <a:accent4>
        <a:srgbClr val="784894"/>
      </a:accent4>
      <a:accent5>
        <a:srgbClr val="31859B"/>
      </a:accent5>
      <a:accent6>
        <a:srgbClr val="C85014"/>
      </a:accent6>
      <a:hlink>
        <a:srgbClr val="00B0F0"/>
      </a:hlink>
      <a:folHlink>
        <a:srgbClr val="B5950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3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4.xml><?xml version="1.0" encoding="utf-8"?>
<a:theme xmlns:a="http://schemas.openxmlformats.org/drawingml/2006/main" name="10_Custom Design">
  <a:themeElements>
    <a:clrScheme name="InfoCepts Colors">
      <a:dk1>
        <a:srgbClr val="262626"/>
      </a:dk1>
      <a:lt1>
        <a:sysClr val="window" lastClr="FFFFFF"/>
      </a:lt1>
      <a:dk2>
        <a:srgbClr val="1F497D"/>
      </a:dk2>
      <a:lt2>
        <a:srgbClr val="F2F2F2"/>
      </a:lt2>
      <a:accent1>
        <a:srgbClr val="0065A4"/>
      </a:accent1>
      <a:accent2>
        <a:srgbClr val="84153E"/>
      </a:accent2>
      <a:accent3>
        <a:srgbClr val="83A343"/>
      </a:accent3>
      <a:accent4>
        <a:srgbClr val="784894"/>
      </a:accent4>
      <a:accent5>
        <a:srgbClr val="31859B"/>
      </a:accent5>
      <a:accent6>
        <a:srgbClr val="C85014"/>
      </a:accent6>
      <a:hlink>
        <a:srgbClr val="00B0F0"/>
      </a:hlink>
      <a:folHlink>
        <a:srgbClr val="B5950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5.xml><?xml version="1.0" encoding="utf-8"?>
<a:theme xmlns:a="http://schemas.openxmlformats.org/drawingml/2006/main" name="1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6.xml><?xml version="1.0" encoding="utf-8"?>
<a:theme xmlns:a="http://schemas.openxmlformats.org/drawingml/2006/main" name="1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7.xml><?xml version="1.0" encoding="utf-8"?>
<a:theme xmlns:a="http://schemas.openxmlformats.org/drawingml/2006/main" name="1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3_InfoCepts-General-Presentation-Template">
  <a:themeElements>
    <a:clrScheme name="InfoCepts-General-Presentation-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InfoCepts-General-Presentation-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IN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IN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InfoCepts-General-Presentation-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foCepts-General-Presentation-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foCepts-General-Presentation-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foCepts-General-Presentation-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foCepts-General-Presentation-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foCepts-General-Presentation-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foCepts-General-Presentation-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>
    <Usecase xmlns="9ad739fe-b710-46db-8bed-c8a994a1283e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CD96B4387F844BA1FC3BD3149E1998" ma:contentTypeVersion="9" ma:contentTypeDescription="Create a new document." ma:contentTypeScope="" ma:versionID="c45aa8383886e3ab6356e3b321b92b70">
  <xsd:schema xmlns:xsd="http://www.w3.org/2001/XMLSchema" xmlns:xs="http://www.w3.org/2001/XMLSchema" xmlns:p="http://schemas.microsoft.com/office/2006/metadata/properties" xmlns:ns2="9ad739fe-b710-46db-8bed-c8a994a1283e" targetNamespace="http://schemas.microsoft.com/office/2006/metadata/properties" ma:root="true" ma:fieldsID="39a02c00286dc5f96626aa901328c7b0" ns2:_="">
    <xsd:import namespace="9ad739fe-b710-46db-8bed-c8a994a1283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Usecase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d739fe-b710-46db-8bed-c8a994a1283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Usecase" ma:index="10" nillable="true" ma:displayName="Usecase" ma:format="Dropdown" ma:internalName="Usecase">
      <xsd:simpleType>
        <xsd:restriction base="dms:Note">
          <xsd:maxLength value="255"/>
        </xsd:restriction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05948A4-74A1-4728-954A-6111B0B01BC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01DAC7-DCED-4BAE-9D06-6B6AF2976A1C}">
  <ds:schemaRefs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9ad739fe-b710-46db-8bed-c8a994a1283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02B579D-2798-4C69-9896-A6B79E53FA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ad739fe-b710-46db-8bed-c8a994a1283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focepts Generic template_final</Template>
  <TotalTime>50861</TotalTime>
  <Words>247</Words>
  <Application>Microsoft Office PowerPoint</Application>
  <PresentationFormat>On-screen Show (16:9)</PresentationFormat>
  <Paragraphs>21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67</vt:i4>
      </vt:variant>
      <vt:variant>
        <vt:lpstr>Slide Titles</vt:lpstr>
      </vt:variant>
      <vt:variant>
        <vt:i4>1</vt:i4>
      </vt:variant>
    </vt:vector>
  </HeadingPairs>
  <TitlesOfParts>
    <vt:vector size="80" baseType="lpstr">
      <vt:lpstr>SimSun</vt:lpstr>
      <vt:lpstr>Arial</vt:lpstr>
      <vt:lpstr>Bebas Neue</vt:lpstr>
      <vt:lpstr>Calibri</vt:lpstr>
      <vt:lpstr>Calibri Light</vt:lpstr>
      <vt:lpstr>Courier New</vt:lpstr>
      <vt:lpstr>Helvetica</vt:lpstr>
      <vt:lpstr>Open Sans</vt:lpstr>
      <vt:lpstr>Open Sans Light</vt:lpstr>
      <vt:lpstr>Source Sans Pro</vt:lpstr>
      <vt:lpstr>Tw Cen MT</vt:lpstr>
      <vt:lpstr>Wingdings</vt:lpstr>
      <vt:lpstr>Infocepts Generic template_final</vt:lpstr>
      <vt:lpstr>1_Custom Design</vt:lpstr>
      <vt:lpstr>2_InfoCepts-General-Presentation-Template</vt:lpstr>
      <vt:lpstr>1_Infocepts Generic template_final</vt:lpstr>
      <vt:lpstr>2_Custom Design</vt:lpstr>
      <vt:lpstr>11_Custom Design</vt:lpstr>
      <vt:lpstr>3_InfoCepts-General-Presentation-Template</vt:lpstr>
      <vt:lpstr>3_Custom Design</vt:lpstr>
      <vt:lpstr>6_Custom Design</vt:lpstr>
      <vt:lpstr>7_Custom Design</vt:lpstr>
      <vt:lpstr>8_Custom Design</vt:lpstr>
      <vt:lpstr>9_Custom Design</vt:lpstr>
      <vt:lpstr>4_InfoCepts-General-Presentation-Template</vt:lpstr>
      <vt:lpstr>2_Infocepts Generic template_final</vt:lpstr>
      <vt:lpstr>12_Custom Design</vt:lpstr>
      <vt:lpstr>5_InfoCepts-General-Presentation-Template</vt:lpstr>
      <vt:lpstr>16_Custom Design</vt:lpstr>
      <vt:lpstr>20_Custom Design</vt:lpstr>
      <vt:lpstr>28_Custom Design</vt:lpstr>
      <vt:lpstr>29_Custom Design</vt:lpstr>
      <vt:lpstr>Custom Design</vt:lpstr>
      <vt:lpstr>37_Custom Design</vt:lpstr>
      <vt:lpstr>42_Custom Design</vt:lpstr>
      <vt:lpstr>43_Custom Design</vt:lpstr>
      <vt:lpstr>44_Custom Design</vt:lpstr>
      <vt:lpstr>53_Custom Design</vt:lpstr>
      <vt:lpstr>3_Infocepts Generic template_final_16x9</vt:lpstr>
      <vt:lpstr>54_Custom Design</vt:lpstr>
      <vt:lpstr>1_Office Theme</vt:lpstr>
      <vt:lpstr>56_Custom Design</vt:lpstr>
      <vt:lpstr>65_Custom Design</vt:lpstr>
      <vt:lpstr>57_Custom Design</vt:lpstr>
      <vt:lpstr>2_LSHC - Bayer Clinical Trials App</vt:lpstr>
      <vt:lpstr>58_Custom Design</vt:lpstr>
      <vt:lpstr>59_Custom Design</vt:lpstr>
      <vt:lpstr>60_Custom Design</vt:lpstr>
      <vt:lpstr>3_Office Theme</vt:lpstr>
      <vt:lpstr>61_Custom Design</vt:lpstr>
      <vt:lpstr>6_Office Theme</vt:lpstr>
      <vt:lpstr>63_Custom Design</vt:lpstr>
      <vt:lpstr>64_Custom Design</vt:lpstr>
      <vt:lpstr>69_Custom Design</vt:lpstr>
      <vt:lpstr>5_Infocepts Generic template_final</vt:lpstr>
      <vt:lpstr>2_Infocepts Generic template_final_16x9</vt:lpstr>
      <vt:lpstr>13_Infocepts Generic template_final_16x9</vt:lpstr>
      <vt:lpstr>1_Infocepts Generic template_final_16x9</vt:lpstr>
      <vt:lpstr>14_Infocepts Generic template_final_16x9</vt:lpstr>
      <vt:lpstr>70_Custom Design</vt:lpstr>
      <vt:lpstr>2_Office Theme</vt:lpstr>
      <vt:lpstr>4_Infocepts Generic template_final_16x9</vt:lpstr>
      <vt:lpstr>71_Custom Design</vt:lpstr>
      <vt:lpstr>72_Custom Design</vt:lpstr>
      <vt:lpstr>6_Infocepts Generic template_final_16x9</vt:lpstr>
      <vt:lpstr>73_Custom Design</vt:lpstr>
      <vt:lpstr>74_Custom Design</vt:lpstr>
      <vt:lpstr>4_Office Theme</vt:lpstr>
      <vt:lpstr>12_Office Theme</vt:lpstr>
      <vt:lpstr>18_Infocepts Generic template_final_16x9</vt:lpstr>
      <vt:lpstr>75_Custom Design</vt:lpstr>
      <vt:lpstr>62_Custom Design</vt:lpstr>
      <vt:lpstr>5_Infocepts Generic template_final_16x9</vt:lpstr>
      <vt:lpstr>5_Custom Design</vt:lpstr>
      <vt:lpstr>5_Office Theme</vt:lpstr>
      <vt:lpstr>10_Custom Design</vt:lpstr>
      <vt:lpstr>13_Custom Design</vt:lpstr>
      <vt:lpstr>14_Custom Design</vt:lpstr>
      <vt:lpstr>15_Custom Design</vt:lpstr>
      <vt:lpstr>Network Intrusion - Technical Case Stud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b headline will go here</dc:title>
  <dc:creator>Shantanu Dixit</dc:creator>
  <cp:lastModifiedBy>Apeksha S. Agrawal</cp:lastModifiedBy>
  <cp:revision>1394</cp:revision>
  <dcterms:created xsi:type="dcterms:W3CDTF">2014-05-06T10:33:50Z</dcterms:created>
  <dcterms:modified xsi:type="dcterms:W3CDTF">2019-09-24T11:2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number">
    <vt:lpwstr>A</vt:lpwstr>
  </property>
  <property fmtid="{D5CDD505-2E9C-101B-9397-08002B2CF9AE}" pid="3" name="ContentTypeId">
    <vt:lpwstr>0x01010033CD96B4387F844BA1FC3BD3149E1998</vt:lpwstr>
  </property>
</Properties>
</file>